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Lst>
  <p:notesMasterIdLst>
    <p:notesMasterId r:id="rId22"/>
  </p:notesMasterIdLst>
  <p:sldIdLst>
    <p:sldId id="296" r:id="rId4"/>
    <p:sldId id="257" r:id="rId5"/>
    <p:sldId id="269" r:id="rId6"/>
    <p:sldId id="261" r:id="rId7"/>
    <p:sldId id="283" r:id="rId8"/>
    <p:sldId id="270" r:id="rId9"/>
    <p:sldId id="286" r:id="rId10"/>
    <p:sldId id="291" r:id="rId11"/>
    <p:sldId id="297" r:id="rId12"/>
    <p:sldId id="298" r:id="rId13"/>
    <p:sldId id="262" r:id="rId14"/>
    <p:sldId id="284" r:id="rId15"/>
    <p:sldId id="292" r:id="rId16"/>
    <p:sldId id="274" r:id="rId17"/>
    <p:sldId id="293" r:id="rId18"/>
    <p:sldId id="294" r:id="rId19"/>
    <p:sldId id="295" r:id="rId20"/>
    <p:sldId id="28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482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7030" autoAdjust="0"/>
  </p:normalViewPr>
  <p:slideViewPr>
    <p:cSldViewPr snapToGrid="0">
      <p:cViewPr varScale="1">
        <p:scale>
          <a:sx n="74" d="100"/>
          <a:sy n="74" d="100"/>
        </p:scale>
        <p:origin x="370"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Sales</c:v>
                </c:pt>
              </c:strCache>
            </c:strRef>
          </c:tx>
          <c:spPr>
            <a:ln>
              <a:noFill/>
            </a:ln>
            <a:scene3d>
              <a:camera prst="orthographicFront"/>
              <a:lightRig rig="threePt" dir="t"/>
            </a:scene3d>
            <a:sp3d prstMaterial="metal">
              <a:bevelT w="88900" h="88900"/>
            </a:sp3d>
          </c:spPr>
          <c:dPt>
            <c:idx val="0"/>
            <c:bubble3D val="0"/>
            <c:spPr>
              <a:solidFill>
                <a:srgbClr val="FF0080"/>
              </a:solidFill>
              <a:ln w="19050">
                <a:noFill/>
              </a:ln>
              <a:effectLst>
                <a:innerShdw blurRad="342900" dist="228600" dir="8100000">
                  <a:schemeClr val="bg1">
                    <a:lumMod val="95000"/>
                    <a:alpha val="21000"/>
                  </a:scheme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3-9E02-41A4-A3AB-C08F8F4BCB20}"/>
              </c:ext>
            </c:extLst>
          </c:dPt>
          <c:dPt>
            <c:idx val="1"/>
            <c:bubble3D val="0"/>
            <c:spPr>
              <a:solidFill>
                <a:srgbClr val="FFC16C"/>
              </a:solidFill>
              <a:ln w="19050">
                <a:noFill/>
              </a:ln>
              <a:effectLst>
                <a:innerShdw blurRad="152400" dist="101600" dir="15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6-9E02-41A4-A3AB-C08F8F4BCB20}"/>
              </c:ext>
            </c:extLst>
          </c:dPt>
          <c:dPt>
            <c:idx val="2"/>
            <c:bubble3D val="0"/>
            <c:spPr>
              <a:solidFill>
                <a:srgbClr val="40E0D0"/>
              </a:solidFill>
              <a:ln w="19050">
                <a:noFill/>
              </a:ln>
              <a:effectLst>
                <a:innerShdw blurRad="139700" dist="101600" dir="18600000">
                  <a:prstClr val="black">
                    <a:alpha val="30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5-9E02-41A4-A3AB-C08F8F4BCB20}"/>
              </c:ext>
            </c:extLst>
          </c:dPt>
          <c:dPt>
            <c:idx val="3"/>
            <c:bubble3D val="0"/>
            <c:spPr>
              <a:solidFill>
                <a:srgbClr val="FF8C00"/>
              </a:solidFill>
              <a:ln w="19050">
                <a:noFill/>
              </a:ln>
              <a:effectLst>
                <a:innerShdw blurRad="127000" dist="76200" dir="20400000">
                  <a:prstClr val="black">
                    <a:alpha val="28000"/>
                  </a:prstClr>
                </a:innerShdw>
              </a:effectLst>
              <a:scene3d>
                <a:camera prst="orthographicFront"/>
                <a:lightRig rig="threePt" dir="t"/>
              </a:scene3d>
              <a:sp3d prstMaterial="metal">
                <a:bevelT w="88900" h="88900"/>
              </a:sp3d>
            </c:spPr>
            <c:extLst xmlns:c16r2="http://schemas.microsoft.com/office/drawing/2015/06/chart">
              <c:ext xmlns:c16="http://schemas.microsoft.com/office/drawing/2014/chart" uri="{C3380CC4-5D6E-409C-BE32-E72D297353CC}">
                <c16:uniqueId val="{00000004-9E02-41A4-A3AB-C08F8F4BCB20}"/>
              </c:ext>
            </c:extLst>
          </c:dPt>
          <c:dPt>
            <c:idx val="4"/>
            <c:bubble3D val="0"/>
            <c:spPr>
              <a:solidFill>
                <a:schemeClr val="accent5"/>
              </a:solidFill>
              <a:ln w="19050">
                <a:noFill/>
              </a:ln>
              <a:effectLst/>
              <a:scene3d>
                <a:camera prst="orthographicFront"/>
                <a:lightRig rig="threePt" dir="t"/>
              </a:scene3d>
              <a:sp3d prstMaterial="metal">
                <a:bevelT w="88900" h="88900"/>
              </a:sp3d>
            </c:spPr>
          </c:dPt>
          <c:dPt>
            <c:idx val="5"/>
            <c:bubble3D val="0"/>
            <c:spPr>
              <a:solidFill>
                <a:schemeClr val="accent6"/>
              </a:solidFill>
              <a:ln w="19050">
                <a:noFill/>
              </a:ln>
              <a:effectLst/>
              <a:scene3d>
                <a:camera prst="orthographicFront"/>
                <a:lightRig rig="threePt" dir="t"/>
              </a:scene3d>
              <a:sp3d prstMaterial="metal">
                <a:bevelT w="88900" h="88900"/>
              </a:sp3d>
            </c:spPr>
          </c:dPt>
          <c:dPt>
            <c:idx val="6"/>
            <c:bubble3D val="0"/>
            <c:spPr>
              <a:solidFill>
                <a:srgbClr val="7030A0"/>
              </a:solidFill>
              <a:ln w="19050">
                <a:noFill/>
              </a:ln>
              <a:effectLst/>
              <a:scene3d>
                <a:camera prst="orthographicFront"/>
                <a:lightRig rig="threePt" dir="t"/>
              </a:scene3d>
              <a:sp3d prstMaterial="metal">
                <a:bevelT w="88900" h="88900"/>
              </a:sp3d>
            </c:spPr>
          </c:dPt>
          <c:cat>
            <c:numRef>
              <c:f>Sheet1!$A$2:$A$8</c:f>
              <c:numCache>
                <c:formatCode>General</c:formatCode>
                <c:ptCount val="7"/>
                <c:pt idx="0">
                  <c:v>1</c:v>
                </c:pt>
                <c:pt idx="1">
                  <c:v>2</c:v>
                </c:pt>
                <c:pt idx="2">
                  <c:v>3</c:v>
                </c:pt>
                <c:pt idx="3">
                  <c:v>4</c:v>
                </c:pt>
                <c:pt idx="4">
                  <c:v>5</c:v>
                </c:pt>
                <c:pt idx="5">
                  <c:v>6</c:v>
                </c:pt>
                <c:pt idx="6">
                  <c:v>7</c:v>
                </c:pt>
              </c:numCache>
            </c:numRef>
          </c:cat>
          <c:val>
            <c:numRef>
              <c:f>Sheet1!$B$2:$B$8</c:f>
              <c:numCache>
                <c:formatCode>General</c:formatCode>
                <c:ptCount val="7"/>
                <c:pt idx="0">
                  <c:v>14.2</c:v>
                </c:pt>
                <c:pt idx="1">
                  <c:v>14.2</c:v>
                </c:pt>
                <c:pt idx="2">
                  <c:v>14.2</c:v>
                </c:pt>
                <c:pt idx="3">
                  <c:v>14.2</c:v>
                </c:pt>
                <c:pt idx="4">
                  <c:v>14.2</c:v>
                </c:pt>
                <c:pt idx="5">
                  <c:v>14.2</c:v>
                </c:pt>
                <c:pt idx="6">
                  <c:v>14.3</c:v>
                </c:pt>
              </c:numCache>
            </c:numRef>
          </c:val>
          <c:extLst xmlns:c16r2="http://schemas.microsoft.com/office/drawing/2015/06/chart">
            <c:ext xmlns:c16="http://schemas.microsoft.com/office/drawing/2014/chart" uri="{C3380CC4-5D6E-409C-BE32-E72D297353CC}">
              <c16:uniqueId val="{00000000-9E02-41A4-A3AB-C08F8F4BCB20}"/>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22EEFC-19A3-4AF2-888C-321CE5B24E4C}"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GB"/>
        </a:p>
      </dgm:t>
    </dgm:pt>
    <dgm:pt modelId="{563B9CF3-40AE-4F6D-9802-FBE29F2DB0FD}">
      <dgm:prSet phldrT="[Text]" custT="1"/>
      <dgm:spPr>
        <a:xfrm>
          <a:off x="131116" y="0"/>
          <a:ext cx="10349000" cy="821966"/>
        </a:xfrm>
        <a:solidFill>
          <a:srgbClr val="679F81"/>
        </a:solidFill>
        <a:ln w="12700" cap="flat" cmpd="sng" algn="ctr">
          <a:solidFill>
            <a:sysClr val="window" lastClr="FFFFFF">
              <a:hueOff val="0"/>
              <a:satOff val="0"/>
              <a:lumOff val="0"/>
              <a:alphaOff val="0"/>
            </a:sysClr>
          </a:solidFill>
          <a:prstDash val="solid"/>
          <a:miter lim="800000"/>
        </a:ln>
        <a:effectLst/>
      </dgm:spPr>
      <dgm:t>
        <a:bodyPr/>
        <a:lstStyle/>
        <a:p>
          <a:r>
            <a:rPr lang="en-ZA" sz="1600" b="1" dirty="0" smtClean="0">
              <a:solidFill>
                <a:sysClr val="window" lastClr="FFFFFF"/>
              </a:solidFill>
              <a:latin typeface="Lato"/>
              <a:ea typeface="+mn-ea"/>
              <a:cs typeface="+mn-cs"/>
            </a:rPr>
            <a:t>Problem Statement  Strategic Support:</a:t>
          </a:r>
        </a:p>
        <a:p>
          <a:r>
            <a:rPr lang="en-ZA" sz="1600" b="1" dirty="0" smtClean="0">
              <a:solidFill>
                <a:sysClr val="window" lastClr="FFFFFF"/>
              </a:solidFill>
              <a:latin typeface="Lato"/>
              <a:ea typeface="+mn-ea"/>
              <a:cs typeface="+mn-cs"/>
            </a:rPr>
            <a:t>Lack of an enabling environment that supports service delivery  excellence  </a:t>
          </a:r>
          <a:endParaRPr lang="en-GB" sz="1600" b="1" dirty="0">
            <a:solidFill>
              <a:sysClr val="window" lastClr="FFFFFF"/>
            </a:solidFill>
            <a:latin typeface="Lato"/>
            <a:ea typeface="+mn-ea"/>
            <a:cs typeface="+mn-cs"/>
          </a:endParaRPr>
        </a:p>
      </dgm:t>
    </dgm:pt>
    <dgm:pt modelId="{3E9FD29A-F7AA-4812-AFD7-F4473F2158AD}" type="parTrans" cxnId="{0CB407C0-2E9A-4EE8-900F-51938B7A358F}">
      <dgm:prSet/>
      <dgm:spPr/>
      <dgm:t>
        <a:bodyPr/>
        <a:lstStyle/>
        <a:p>
          <a:endParaRPr lang="en-GB">
            <a:solidFill>
              <a:schemeClr val="tx1"/>
            </a:solidFill>
          </a:endParaRPr>
        </a:p>
      </dgm:t>
    </dgm:pt>
    <dgm:pt modelId="{05BEB253-1CA9-4CA9-8CD4-0CB9A17B327C}" type="sibTrans" cxnId="{0CB407C0-2E9A-4EE8-900F-51938B7A358F}">
      <dgm:prSet/>
      <dgm:spPr/>
      <dgm:t>
        <a:bodyPr/>
        <a:lstStyle/>
        <a:p>
          <a:endParaRPr lang="en-GB">
            <a:solidFill>
              <a:schemeClr val="tx1"/>
            </a:solidFill>
          </a:endParaRPr>
        </a:p>
      </dgm:t>
    </dgm:pt>
    <dgm:pt modelId="{27C0C58C-3A95-4427-952F-34ADD3E4CA9C}">
      <dgm:prSet phldrT="[Text]" custT="1"/>
      <dgm:spPr>
        <a:xfrm>
          <a:off x="0" y="887615"/>
          <a:ext cx="2196003" cy="612001"/>
        </a:xfr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000" b="1" dirty="0" smtClean="0">
              <a:solidFill>
                <a:sysClr val="windowText" lastClr="000000"/>
              </a:solidFill>
              <a:latin typeface="Lato"/>
              <a:ea typeface="+mn-ea"/>
              <a:cs typeface="+mn-cs"/>
            </a:rPr>
            <a:t>Direct cause:</a:t>
          </a:r>
        </a:p>
        <a:p>
          <a:r>
            <a:rPr lang="en-ZA" sz="1000" b="1" dirty="0" smtClean="0">
              <a:solidFill>
                <a:sysClr val="windowText" lastClr="000000"/>
              </a:solidFill>
              <a:latin typeface="Lato"/>
              <a:ea typeface="+mn-ea"/>
              <a:cs typeface="+mn-cs"/>
            </a:rPr>
            <a:t>Lack of  integrate business information for informed decision making</a:t>
          </a:r>
          <a:endParaRPr lang="en-GB" sz="1000" b="1" dirty="0">
            <a:solidFill>
              <a:sysClr val="windowText" lastClr="000000"/>
            </a:solidFill>
            <a:latin typeface="Lato"/>
            <a:ea typeface="+mn-ea"/>
            <a:cs typeface="+mn-cs"/>
          </a:endParaRPr>
        </a:p>
      </dgm:t>
    </dgm:pt>
    <dgm:pt modelId="{A0F550C9-0B7E-4467-B60C-2FE33DB848F1}" type="parTrans" cxnId="{621EE3B8-6D07-459C-A6D3-E3BA410FE6C2}">
      <dgm:prSet/>
      <dgm:spPr>
        <a:xfrm>
          <a:off x="1098001" y="776246"/>
          <a:ext cx="4207614" cy="91440"/>
        </a:xfrm>
        <a:noFill/>
        <a:ln w="12700" cap="flat" cmpd="sng" algn="ctr">
          <a:noFill/>
          <a:prstDash val="solid"/>
          <a:miter lim="800000"/>
        </a:ln>
        <a:effectLst/>
      </dgm:spPr>
      <dgm:t>
        <a:bodyPr/>
        <a:lstStyle/>
        <a:p>
          <a:endParaRPr lang="en-GB">
            <a:solidFill>
              <a:schemeClr val="tx1"/>
            </a:solidFill>
          </a:endParaRPr>
        </a:p>
      </dgm:t>
    </dgm:pt>
    <dgm:pt modelId="{A48D0EC1-8DC2-4E08-8DF7-FD71B3DFA6AD}" type="sibTrans" cxnId="{621EE3B8-6D07-459C-A6D3-E3BA410FE6C2}">
      <dgm:prSet/>
      <dgm:spPr/>
      <dgm:t>
        <a:bodyPr/>
        <a:lstStyle/>
        <a:p>
          <a:endParaRPr lang="en-GB">
            <a:solidFill>
              <a:schemeClr val="tx1"/>
            </a:solidFill>
          </a:endParaRPr>
        </a:p>
      </dgm:t>
    </dgm:pt>
    <dgm:pt modelId="{B8408C07-B965-420B-AA4F-EF7BF3626137}">
      <dgm:prSet phldrT="[Text]" custT="1"/>
      <dgm:spPr>
        <a:xfrm>
          <a:off x="7413947" y="887615"/>
          <a:ext cx="2196003" cy="689506"/>
        </a:xfr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050" b="1" dirty="0" smtClean="0">
              <a:solidFill>
                <a:sysClr val="windowText" lastClr="000000"/>
              </a:solidFill>
              <a:latin typeface="Lato"/>
              <a:ea typeface="+mn-ea"/>
              <a:cs typeface="+mn-cs"/>
            </a:rPr>
            <a:t>Direct cause:</a:t>
          </a:r>
        </a:p>
        <a:p>
          <a:r>
            <a:rPr lang="en-ZA" sz="1050" b="1" dirty="0" smtClean="0">
              <a:solidFill>
                <a:sysClr val="windowText" lastClr="000000"/>
              </a:solidFill>
              <a:latin typeface="Lato"/>
              <a:ea typeface="+mn-ea"/>
              <a:cs typeface="+mn-cs"/>
            </a:rPr>
            <a:t>Insufficient budget allocations for programmes and projects </a:t>
          </a:r>
          <a:endParaRPr lang="en-GB" sz="1050" b="1" dirty="0" smtClean="0">
            <a:solidFill>
              <a:sysClr val="windowText" lastClr="000000"/>
            </a:solidFill>
            <a:latin typeface="Lato"/>
            <a:ea typeface="+mn-ea"/>
            <a:cs typeface="+mn-cs"/>
          </a:endParaRPr>
        </a:p>
      </dgm:t>
    </dgm:pt>
    <dgm:pt modelId="{205FFF2B-3A41-4A88-A3BE-31B22C2574A7}" type="parTrans" cxnId="{A10F591D-4995-402B-8FE6-D58EFD4115C8}">
      <dgm:prSet/>
      <dgm:spPr>
        <a:xfrm>
          <a:off x="5305616" y="776246"/>
          <a:ext cx="3206332" cy="91440"/>
        </a:xfrm>
        <a:noFill/>
        <a:ln w="12700" cap="flat" cmpd="sng" algn="ctr">
          <a:noFill/>
          <a:prstDash val="solid"/>
          <a:miter lim="800000"/>
        </a:ln>
        <a:effectLst/>
      </dgm:spPr>
      <dgm:t>
        <a:bodyPr/>
        <a:lstStyle/>
        <a:p>
          <a:endParaRPr lang="en-GB">
            <a:solidFill>
              <a:schemeClr val="tx1"/>
            </a:solidFill>
          </a:endParaRPr>
        </a:p>
      </dgm:t>
    </dgm:pt>
    <dgm:pt modelId="{03C46B23-7DCA-4218-9A55-43725D271667}" type="sibTrans" cxnId="{A10F591D-4995-402B-8FE6-D58EFD4115C8}">
      <dgm:prSet/>
      <dgm:spPr/>
      <dgm:t>
        <a:bodyPr/>
        <a:lstStyle/>
        <a:p>
          <a:endParaRPr lang="en-GB">
            <a:solidFill>
              <a:schemeClr val="tx1"/>
            </a:solidFill>
          </a:endParaRPr>
        </a:p>
      </dgm:t>
    </dgm:pt>
    <dgm:pt modelId="{4D9ED46B-69D1-47A5-8587-425F875E60C9}">
      <dgm:prSet phldrT="[Text]" custT="1"/>
      <dgm:spPr>
        <a:xfrm>
          <a:off x="2577198" y="1456682"/>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Poor recruitment and retention strategy</a:t>
          </a:r>
          <a:endParaRPr lang="en-GB" sz="1200" dirty="0">
            <a:solidFill>
              <a:sysClr val="windowText" lastClr="000000"/>
            </a:solidFill>
            <a:latin typeface="Lato"/>
            <a:ea typeface="+mn-ea"/>
            <a:cs typeface="+mn-cs"/>
          </a:endParaRPr>
        </a:p>
      </dgm:t>
    </dgm:pt>
    <dgm:pt modelId="{58994A76-1B27-43DF-B02F-100B15B3B104}" type="parTrans" cxnId="{54AEC9C3-FCCD-40D9-AC49-6E99DEFE0C6D}">
      <dgm:prSet/>
      <dgm:spPr>
        <a:xfrm>
          <a:off x="4443262" y="1403723"/>
          <a:ext cx="91440" cy="278315"/>
        </a:xfrm>
        <a:noFill/>
        <a:ln w="12700" cap="flat" cmpd="sng" algn="ctr">
          <a:noFill/>
          <a:prstDash val="solid"/>
          <a:miter lim="800000"/>
        </a:ln>
        <a:effectLst/>
      </dgm:spPr>
      <dgm:t>
        <a:bodyPr/>
        <a:lstStyle/>
        <a:p>
          <a:endParaRPr lang="en-GB">
            <a:solidFill>
              <a:schemeClr val="tx1"/>
            </a:solidFill>
          </a:endParaRPr>
        </a:p>
      </dgm:t>
    </dgm:pt>
    <dgm:pt modelId="{22A69CCF-FD75-4E98-B318-DC8302FAB2C0}" type="sibTrans" cxnId="{54AEC9C3-FCCD-40D9-AC49-6E99DEFE0C6D}">
      <dgm:prSet/>
      <dgm:spPr/>
      <dgm:t>
        <a:bodyPr/>
        <a:lstStyle/>
        <a:p>
          <a:endParaRPr lang="en-GB">
            <a:solidFill>
              <a:schemeClr val="tx1"/>
            </a:solidFill>
          </a:endParaRPr>
        </a:p>
      </dgm:t>
    </dgm:pt>
    <dgm:pt modelId="{70510394-ADAF-4017-9A71-0CDBF70C8053}">
      <dgm:prSet custT="1"/>
      <dgm:spPr>
        <a:xfrm>
          <a:off x="2577198" y="2485364"/>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Organisational structure not aligned to mandate</a:t>
          </a:r>
          <a:endParaRPr lang="en-GB" sz="1000" dirty="0">
            <a:solidFill>
              <a:sysClr val="windowText" lastClr="000000"/>
            </a:solidFill>
            <a:latin typeface="Lato"/>
            <a:ea typeface="+mn-ea"/>
            <a:cs typeface="+mn-cs"/>
          </a:endParaRPr>
        </a:p>
      </dgm:t>
    </dgm:pt>
    <dgm:pt modelId="{39A6586C-73CD-4D64-A1FA-DFF0D99B7D4E}" type="parTrans" cxnId="{86A4D385-2F22-4BFF-931D-859B87D5FC92}">
      <dgm:prSet/>
      <dgm:spPr>
        <a:xfrm>
          <a:off x="4443262" y="1403723"/>
          <a:ext cx="91440" cy="1306997"/>
        </a:xfrm>
        <a:noFill/>
        <a:ln w="12700" cap="flat" cmpd="sng" algn="ctr">
          <a:noFill/>
          <a:prstDash val="solid"/>
          <a:miter lim="800000"/>
        </a:ln>
        <a:effectLst/>
      </dgm:spPr>
      <dgm:t>
        <a:bodyPr/>
        <a:lstStyle/>
        <a:p>
          <a:endParaRPr lang="en-GB">
            <a:solidFill>
              <a:schemeClr val="tx1"/>
            </a:solidFill>
          </a:endParaRPr>
        </a:p>
      </dgm:t>
    </dgm:pt>
    <dgm:pt modelId="{D94AC2A3-737F-46A2-AC99-71A23D9C4826}" type="sibTrans" cxnId="{86A4D385-2F22-4BFF-931D-859B87D5FC92}">
      <dgm:prSet/>
      <dgm:spPr/>
      <dgm:t>
        <a:bodyPr/>
        <a:lstStyle/>
        <a:p>
          <a:endParaRPr lang="en-GB">
            <a:solidFill>
              <a:schemeClr val="tx1"/>
            </a:solidFill>
          </a:endParaRPr>
        </a:p>
      </dgm:t>
    </dgm:pt>
    <dgm:pt modelId="{232AA91C-A830-4893-AB0C-E0B807EEE6B2}">
      <dgm:prSet phldrT="[Text]" custT="1"/>
      <dgm:spPr>
        <a:xfrm>
          <a:off x="2577198" y="1954617"/>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Non-compliance with employment equity targets and AA measures</a:t>
          </a:r>
          <a:endParaRPr lang="en-GB" sz="1000" dirty="0">
            <a:solidFill>
              <a:sysClr val="windowText" lastClr="000000"/>
            </a:solidFill>
            <a:latin typeface="Lato"/>
            <a:ea typeface="+mn-ea"/>
            <a:cs typeface="+mn-cs"/>
          </a:endParaRPr>
        </a:p>
      </dgm:t>
    </dgm:pt>
    <dgm:pt modelId="{1AEE5C21-8809-4BD3-BF4B-96F643A6442C}" type="parTrans" cxnId="{2242DF51-6F3D-46A4-A1A5-04BE8850E38B}">
      <dgm:prSet/>
      <dgm:spPr>
        <a:xfrm>
          <a:off x="4443262" y="1403723"/>
          <a:ext cx="91440" cy="776250"/>
        </a:xfrm>
        <a:noFill/>
        <a:ln w="12700" cap="flat" cmpd="sng" algn="ctr">
          <a:noFill/>
          <a:prstDash val="solid"/>
          <a:miter lim="800000"/>
        </a:ln>
        <a:effectLst/>
      </dgm:spPr>
      <dgm:t>
        <a:bodyPr/>
        <a:lstStyle/>
        <a:p>
          <a:endParaRPr lang="en-GB">
            <a:solidFill>
              <a:schemeClr val="tx1"/>
            </a:solidFill>
          </a:endParaRPr>
        </a:p>
      </dgm:t>
    </dgm:pt>
    <dgm:pt modelId="{FAB4A523-7091-432C-A10F-E583BE39856A}" type="sibTrans" cxnId="{2242DF51-6F3D-46A4-A1A5-04BE8850E38B}">
      <dgm:prSet/>
      <dgm:spPr/>
      <dgm:t>
        <a:bodyPr/>
        <a:lstStyle/>
        <a:p>
          <a:endParaRPr lang="en-GB">
            <a:solidFill>
              <a:schemeClr val="tx1"/>
            </a:solidFill>
          </a:endParaRPr>
        </a:p>
      </dgm:t>
    </dgm:pt>
    <dgm:pt modelId="{DCA969C6-173D-4A46-9BA4-5119AF64DB64}">
      <dgm:prSet custT="1"/>
      <dgm:spPr>
        <a:xfrm>
          <a:off x="2577712" y="3017355"/>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100" dirty="0" smtClean="0">
              <a:solidFill>
                <a:sysClr val="windowText" lastClr="000000"/>
              </a:solidFill>
              <a:latin typeface="Lato"/>
              <a:ea typeface="+mn-ea"/>
              <a:cs typeface="+mn-cs"/>
            </a:rPr>
            <a:t>Inadequate resourcing of the colleges </a:t>
          </a:r>
          <a:endParaRPr lang="en-GB" sz="1100" dirty="0">
            <a:solidFill>
              <a:sysClr val="windowText" lastClr="000000"/>
            </a:solidFill>
            <a:latin typeface="Lato"/>
            <a:ea typeface="+mn-ea"/>
            <a:cs typeface="+mn-cs"/>
          </a:endParaRPr>
        </a:p>
      </dgm:t>
    </dgm:pt>
    <dgm:pt modelId="{CCCD879D-0878-4276-BBBF-ED7DC058AD7B}" type="parTrans" cxnId="{57816D1E-B580-47C0-A950-5C5DB86F664B}">
      <dgm:prSet/>
      <dgm:spPr>
        <a:xfrm>
          <a:off x="4443262" y="1403723"/>
          <a:ext cx="91440" cy="1838988"/>
        </a:xfrm>
        <a:noFill/>
        <a:ln w="12700" cap="flat" cmpd="sng" algn="ctr">
          <a:noFill/>
          <a:prstDash val="solid"/>
          <a:miter lim="800000"/>
        </a:ln>
        <a:effectLst/>
      </dgm:spPr>
      <dgm:t>
        <a:bodyPr/>
        <a:lstStyle/>
        <a:p>
          <a:endParaRPr lang="en-GB">
            <a:solidFill>
              <a:schemeClr val="tx1"/>
            </a:solidFill>
          </a:endParaRPr>
        </a:p>
      </dgm:t>
    </dgm:pt>
    <dgm:pt modelId="{FE4AC76F-08FB-47BF-8FF3-FA756FFB418F}" type="sibTrans" cxnId="{57816D1E-B580-47C0-A950-5C5DB86F664B}">
      <dgm:prSet/>
      <dgm:spPr/>
      <dgm:t>
        <a:bodyPr/>
        <a:lstStyle/>
        <a:p>
          <a:endParaRPr lang="en-GB">
            <a:solidFill>
              <a:schemeClr val="tx1"/>
            </a:solidFill>
          </a:endParaRPr>
        </a:p>
      </dgm:t>
    </dgm:pt>
    <dgm:pt modelId="{4CC3869D-EA05-4F15-ABEF-E876B4DF3A97}">
      <dgm:prSet custT="1"/>
      <dgm:spPr>
        <a:xfrm>
          <a:off x="2577712" y="3545010"/>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050" dirty="0" smtClean="0">
              <a:solidFill>
                <a:sysClr val="windowText" lastClr="000000"/>
              </a:solidFill>
              <a:latin typeface="Lato"/>
              <a:ea typeface="+mn-ea"/>
              <a:cs typeface="+mn-cs"/>
            </a:rPr>
            <a:t>Inconsistent implementation of HR directives  </a:t>
          </a:r>
          <a:endParaRPr lang="en-GB" sz="1050" dirty="0">
            <a:solidFill>
              <a:sysClr val="windowText" lastClr="000000"/>
            </a:solidFill>
            <a:latin typeface="Lato"/>
            <a:ea typeface="+mn-ea"/>
            <a:cs typeface="+mn-cs"/>
          </a:endParaRPr>
        </a:p>
      </dgm:t>
    </dgm:pt>
    <dgm:pt modelId="{60A8C610-33C6-4C13-A76B-645F44A3B723}" type="parTrans" cxnId="{E262D2DD-FF85-49C4-B13E-BE1172AB56AE}">
      <dgm:prSet/>
      <dgm:spPr>
        <a:xfrm>
          <a:off x="4443262" y="1403723"/>
          <a:ext cx="91440" cy="2366643"/>
        </a:xfrm>
        <a:noFill/>
        <a:ln w="12700" cap="flat" cmpd="sng" algn="ctr">
          <a:noFill/>
          <a:prstDash val="solid"/>
          <a:miter lim="800000"/>
        </a:ln>
        <a:effectLst/>
      </dgm:spPr>
      <dgm:t>
        <a:bodyPr/>
        <a:lstStyle/>
        <a:p>
          <a:endParaRPr lang="en-GB">
            <a:solidFill>
              <a:schemeClr val="tx1"/>
            </a:solidFill>
          </a:endParaRPr>
        </a:p>
      </dgm:t>
    </dgm:pt>
    <dgm:pt modelId="{062AB4E3-8430-4023-A667-0AA14B259536}" type="sibTrans" cxnId="{E262D2DD-FF85-49C4-B13E-BE1172AB56AE}">
      <dgm:prSet/>
      <dgm:spPr/>
      <dgm:t>
        <a:bodyPr/>
        <a:lstStyle/>
        <a:p>
          <a:endParaRPr lang="en-GB">
            <a:solidFill>
              <a:schemeClr val="tx1"/>
            </a:solidFill>
          </a:endParaRPr>
        </a:p>
      </dgm:t>
    </dgm:pt>
    <dgm:pt modelId="{4A273B54-5675-4A36-BC30-269F184B394E}">
      <dgm:prSet/>
      <dgm:spPr>
        <a:xfrm>
          <a:off x="2577712" y="4072660"/>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Lack of uniform and appropriate shift system </a:t>
          </a:r>
          <a:endParaRPr lang="en-GB" dirty="0">
            <a:solidFill>
              <a:sysClr val="windowText" lastClr="000000"/>
            </a:solidFill>
            <a:latin typeface="Lato"/>
            <a:ea typeface="+mn-ea"/>
            <a:cs typeface="+mn-cs"/>
          </a:endParaRPr>
        </a:p>
      </dgm:t>
    </dgm:pt>
    <dgm:pt modelId="{B9768B53-8850-4D94-B15A-B424BE92EB7A}" type="parTrans" cxnId="{20DD6BCF-EBBB-46CF-B3F2-5F45E2F4073A}">
      <dgm:prSet/>
      <dgm:spPr>
        <a:xfrm>
          <a:off x="4443262" y="1403723"/>
          <a:ext cx="91440" cy="2894294"/>
        </a:xfrm>
        <a:noFill/>
        <a:ln w="12700" cap="flat" cmpd="sng" algn="ctr">
          <a:noFill/>
          <a:prstDash val="solid"/>
          <a:miter lim="800000"/>
        </a:ln>
        <a:effectLst/>
      </dgm:spPr>
      <dgm:t>
        <a:bodyPr/>
        <a:lstStyle/>
        <a:p>
          <a:endParaRPr lang="en-GB">
            <a:solidFill>
              <a:schemeClr val="tx1"/>
            </a:solidFill>
          </a:endParaRPr>
        </a:p>
      </dgm:t>
    </dgm:pt>
    <dgm:pt modelId="{52079362-CDB7-4D88-9EF5-A9C28CCD6275}" type="sibTrans" cxnId="{20DD6BCF-EBBB-46CF-B3F2-5F45E2F4073A}">
      <dgm:prSet/>
      <dgm:spPr/>
      <dgm:t>
        <a:bodyPr/>
        <a:lstStyle/>
        <a:p>
          <a:endParaRPr lang="en-GB">
            <a:solidFill>
              <a:schemeClr val="tx1"/>
            </a:solidFill>
          </a:endParaRPr>
        </a:p>
      </dgm:t>
    </dgm:pt>
    <dgm:pt modelId="{9D90A7A5-CCD4-4D01-BA9A-53F4E97656E6}">
      <dgm:prSet phldrT="[Text]" custT="1"/>
      <dgm:spPr>
        <a:xfrm>
          <a:off x="9905794" y="2065609"/>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Inadequate compliance monitoring coverage</a:t>
          </a:r>
        </a:p>
      </dgm:t>
    </dgm:pt>
    <dgm:pt modelId="{7F261382-8D87-413A-8D05-DC35E9B459FF}" type="parTrans" cxnId="{CD60D114-1174-4F9F-AB50-CE068219C6B7}">
      <dgm:prSet/>
      <dgm:spPr>
        <a:xfrm>
          <a:off x="9860074" y="1494023"/>
          <a:ext cx="91440" cy="796943"/>
        </a:xfrm>
        <a:noFill/>
        <a:ln w="12700" cap="flat" cmpd="sng" algn="ctr">
          <a:noFill/>
          <a:prstDash val="solid"/>
          <a:miter lim="800000"/>
        </a:ln>
        <a:effectLst/>
      </dgm:spPr>
      <dgm:t>
        <a:bodyPr/>
        <a:lstStyle/>
        <a:p>
          <a:endParaRPr lang="en-GB">
            <a:solidFill>
              <a:schemeClr val="tx1"/>
            </a:solidFill>
          </a:endParaRPr>
        </a:p>
      </dgm:t>
    </dgm:pt>
    <dgm:pt modelId="{07A0BBC8-C2A3-4D84-9311-D7818CBD37BF}" type="sibTrans" cxnId="{CD60D114-1174-4F9F-AB50-CE068219C6B7}">
      <dgm:prSet/>
      <dgm:spPr/>
      <dgm:t>
        <a:bodyPr/>
        <a:lstStyle/>
        <a:p>
          <a:endParaRPr lang="en-GB">
            <a:solidFill>
              <a:schemeClr val="tx1"/>
            </a:solidFill>
          </a:endParaRPr>
        </a:p>
      </dgm:t>
    </dgm:pt>
    <dgm:pt modelId="{BC412EB7-C7E5-4551-B509-CA54EA28D57E}">
      <dgm:prSet phldrT="[Text]" custT="1"/>
      <dgm:spPr>
        <a:xfrm>
          <a:off x="9905794" y="3118653"/>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Lack of segregation of duties and non-compliance to procurement prescripts</a:t>
          </a:r>
        </a:p>
      </dgm:t>
    </dgm:pt>
    <dgm:pt modelId="{F5AAD115-D470-4475-8607-D5E6FED1948F}" type="parTrans" cxnId="{2DC5D7E2-9730-4B75-8227-EB18B157EEEA}">
      <dgm:prSet/>
      <dgm:spPr>
        <a:xfrm>
          <a:off x="9860074" y="1494023"/>
          <a:ext cx="91440" cy="1849986"/>
        </a:xfrm>
        <a:noFill/>
        <a:ln w="12700" cap="flat" cmpd="sng" algn="ctr">
          <a:noFill/>
          <a:prstDash val="solid"/>
          <a:miter lim="800000"/>
        </a:ln>
        <a:effectLst/>
      </dgm:spPr>
      <dgm:t>
        <a:bodyPr/>
        <a:lstStyle/>
        <a:p>
          <a:endParaRPr lang="en-GB">
            <a:solidFill>
              <a:schemeClr val="tx1"/>
            </a:solidFill>
          </a:endParaRPr>
        </a:p>
      </dgm:t>
    </dgm:pt>
    <dgm:pt modelId="{2179CFA4-B746-49BD-B895-18B8AA8C993C}" type="sibTrans" cxnId="{2DC5D7E2-9730-4B75-8227-EB18B157EEEA}">
      <dgm:prSet/>
      <dgm:spPr/>
      <dgm:t>
        <a:bodyPr/>
        <a:lstStyle/>
        <a:p>
          <a:endParaRPr lang="en-GB">
            <a:solidFill>
              <a:schemeClr val="tx1"/>
            </a:solidFill>
          </a:endParaRPr>
        </a:p>
      </dgm:t>
    </dgm:pt>
    <dgm:pt modelId="{B983738D-B6CD-4ACC-B021-5D6559383373}">
      <dgm:prSet phldrT="[Text]" custT="1"/>
      <dgm:spPr>
        <a:xfrm>
          <a:off x="9729732" y="887615"/>
          <a:ext cx="2196003" cy="606408"/>
        </a:xfr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100" b="1" dirty="0" smtClean="0">
              <a:solidFill>
                <a:sysClr val="windowText" lastClr="000000"/>
              </a:solidFill>
              <a:latin typeface="Lato"/>
              <a:ea typeface="+mn-ea"/>
              <a:cs typeface="+mn-cs"/>
            </a:rPr>
            <a:t>Direct cause:</a:t>
          </a:r>
        </a:p>
        <a:p>
          <a:r>
            <a:rPr lang="en-ZA" sz="1100" b="1" dirty="0" smtClean="0">
              <a:solidFill>
                <a:sysClr val="windowText" lastClr="000000"/>
              </a:solidFill>
              <a:latin typeface="Lato"/>
              <a:ea typeface="+mn-ea"/>
              <a:cs typeface="+mn-cs"/>
            </a:rPr>
            <a:t>Non compliance to key legislation, prescripts and policies </a:t>
          </a:r>
        </a:p>
      </dgm:t>
    </dgm:pt>
    <dgm:pt modelId="{7560B32A-7E95-48CB-8C6D-0F10B90600A1}" type="sibTrans" cxnId="{9990CE20-CD65-4E97-9E00-1451F38FFCFD}">
      <dgm:prSet/>
      <dgm:spPr/>
      <dgm:t>
        <a:bodyPr/>
        <a:lstStyle/>
        <a:p>
          <a:endParaRPr lang="en-GB">
            <a:solidFill>
              <a:schemeClr val="tx1"/>
            </a:solidFill>
          </a:endParaRPr>
        </a:p>
      </dgm:t>
    </dgm:pt>
    <dgm:pt modelId="{0C80A140-103B-41C0-9712-E50AB27044E3}" type="parTrans" cxnId="{9990CE20-CD65-4E97-9E00-1451F38FFCFD}">
      <dgm:prSet/>
      <dgm:spPr>
        <a:xfrm>
          <a:off x="5305616" y="776246"/>
          <a:ext cx="5522117" cy="91440"/>
        </a:xfrm>
        <a:noFill/>
        <a:ln w="12700" cap="flat" cmpd="sng" algn="ctr">
          <a:noFill/>
          <a:prstDash val="solid"/>
          <a:miter lim="800000"/>
        </a:ln>
        <a:effectLst/>
      </dgm:spPr>
      <dgm:t>
        <a:bodyPr/>
        <a:lstStyle/>
        <a:p>
          <a:endParaRPr lang="en-GB">
            <a:solidFill>
              <a:schemeClr val="tx1"/>
            </a:solidFill>
          </a:endParaRPr>
        </a:p>
      </dgm:t>
    </dgm:pt>
    <dgm:pt modelId="{F4EA981A-F986-4877-BD25-5C14FE41D176}">
      <dgm:prSet phldrT="[Text]" custT="1"/>
      <dgm:spPr>
        <a:xfrm>
          <a:off x="7485399" y="1670081"/>
          <a:ext cx="1955953" cy="568322"/>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400" dirty="0" smtClean="0">
              <a:solidFill>
                <a:sysClr val="windowText" lastClr="000000"/>
              </a:solidFill>
              <a:latin typeface="Lato"/>
              <a:ea typeface="+mn-ea"/>
              <a:cs typeface="+mn-cs"/>
            </a:rPr>
            <a:t>Weak economic growth outlook</a:t>
          </a:r>
        </a:p>
      </dgm:t>
    </dgm:pt>
    <dgm:pt modelId="{259B2E52-E7E2-4233-88B2-F72E854BF241}" type="parTrans" cxnId="{8A65B98B-160B-4BBA-B57D-BE2EDF8D11CF}">
      <dgm:prSet/>
      <dgm:spPr>
        <a:xfrm>
          <a:off x="7485399" y="1577121"/>
          <a:ext cx="148148" cy="377121"/>
        </a:xfrm>
        <a:noFill/>
        <a:ln w="12700" cap="flat" cmpd="sng" algn="ctr">
          <a:noFill/>
          <a:prstDash val="solid"/>
          <a:miter lim="800000"/>
        </a:ln>
        <a:effectLst/>
      </dgm:spPr>
      <dgm:t>
        <a:bodyPr/>
        <a:lstStyle/>
        <a:p>
          <a:endParaRPr lang="en-GB">
            <a:solidFill>
              <a:schemeClr val="tx1"/>
            </a:solidFill>
          </a:endParaRPr>
        </a:p>
      </dgm:t>
    </dgm:pt>
    <dgm:pt modelId="{1F6D5CE7-832A-4E64-B338-FC127EF3F3A6}" type="sibTrans" cxnId="{8A65B98B-160B-4BBA-B57D-BE2EDF8D11CF}">
      <dgm:prSet/>
      <dgm:spPr/>
      <dgm:t>
        <a:bodyPr/>
        <a:lstStyle/>
        <a:p>
          <a:endParaRPr lang="en-GB">
            <a:solidFill>
              <a:schemeClr val="tx1"/>
            </a:solidFill>
          </a:endParaRPr>
        </a:p>
      </dgm:t>
    </dgm:pt>
    <dgm:pt modelId="{698692B6-1357-4EE6-9048-DE912A24D330}">
      <dgm:prSet custT="1"/>
      <dgm:spPr>
        <a:xfrm>
          <a:off x="7531443" y="2950482"/>
          <a:ext cx="1955953" cy="568322"/>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Inadequate capital investment in production workshops and agriculture</a:t>
          </a:r>
          <a:endParaRPr lang="en-GB" sz="1050" dirty="0">
            <a:solidFill>
              <a:sysClr val="windowText" lastClr="000000"/>
            </a:solidFill>
            <a:latin typeface="Lato"/>
            <a:ea typeface="+mn-ea"/>
            <a:cs typeface="+mn-cs"/>
          </a:endParaRPr>
        </a:p>
      </dgm:t>
    </dgm:pt>
    <dgm:pt modelId="{4367FA1D-0ED9-4CD2-A69D-AB32E669494E}" type="parTrans" cxnId="{E161F89A-1A0B-4996-B618-695861845180}">
      <dgm:prSet/>
      <dgm:spPr>
        <a:xfrm>
          <a:off x="7531443" y="1577121"/>
          <a:ext cx="102103" cy="1657522"/>
        </a:xfrm>
        <a:noFill/>
        <a:ln w="12700" cap="flat" cmpd="sng" algn="ctr">
          <a:noFill/>
          <a:prstDash val="solid"/>
          <a:miter lim="800000"/>
        </a:ln>
        <a:effectLst/>
      </dgm:spPr>
      <dgm:t>
        <a:bodyPr/>
        <a:lstStyle/>
        <a:p>
          <a:endParaRPr lang="en-GB">
            <a:solidFill>
              <a:schemeClr val="tx1"/>
            </a:solidFill>
          </a:endParaRPr>
        </a:p>
      </dgm:t>
    </dgm:pt>
    <dgm:pt modelId="{8FA8089E-2D51-4610-81D7-AB21AC040FFC}" type="sibTrans" cxnId="{E161F89A-1A0B-4996-B618-695861845180}">
      <dgm:prSet/>
      <dgm:spPr/>
      <dgm:t>
        <a:bodyPr/>
        <a:lstStyle/>
        <a:p>
          <a:endParaRPr lang="en-GB">
            <a:solidFill>
              <a:schemeClr val="tx1"/>
            </a:solidFill>
          </a:endParaRPr>
        </a:p>
      </dgm:t>
    </dgm:pt>
    <dgm:pt modelId="{93ABD30C-0E7B-486F-A681-9A005A28D744}">
      <dgm:prSet phldrT="[Text]" custT="1"/>
      <dgm:spPr>
        <a:xfrm>
          <a:off x="7531443" y="2310279"/>
          <a:ext cx="1955953" cy="568322"/>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Inadequate spending capacity in some expenditure line items</a:t>
          </a:r>
          <a:endParaRPr lang="en-GB" sz="1050" dirty="0" smtClean="0">
            <a:solidFill>
              <a:sysClr val="windowText" lastClr="000000"/>
            </a:solidFill>
            <a:latin typeface="Lato"/>
            <a:ea typeface="+mn-ea"/>
            <a:cs typeface="+mn-cs"/>
          </a:endParaRPr>
        </a:p>
      </dgm:t>
    </dgm:pt>
    <dgm:pt modelId="{B5C8BB55-6EF8-44D3-999A-69265F0E1FBC}" type="parTrans" cxnId="{1F611F66-E825-490E-BB89-E0A1B69C25A0}">
      <dgm:prSet/>
      <dgm:spPr>
        <a:xfrm>
          <a:off x="7531443" y="1577121"/>
          <a:ext cx="102103" cy="1017319"/>
        </a:xfrm>
        <a:noFill/>
        <a:ln w="12700" cap="flat" cmpd="sng" algn="ctr">
          <a:noFill/>
          <a:prstDash val="solid"/>
          <a:miter lim="800000"/>
        </a:ln>
        <a:effectLst/>
      </dgm:spPr>
      <dgm:t>
        <a:bodyPr/>
        <a:lstStyle/>
        <a:p>
          <a:endParaRPr lang="en-GB">
            <a:solidFill>
              <a:schemeClr val="tx1"/>
            </a:solidFill>
          </a:endParaRPr>
        </a:p>
      </dgm:t>
    </dgm:pt>
    <dgm:pt modelId="{863BD30A-A7E9-45B6-B8A5-658CBA70071A}" type="sibTrans" cxnId="{1F611F66-E825-490E-BB89-E0A1B69C25A0}">
      <dgm:prSet/>
      <dgm:spPr/>
      <dgm:t>
        <a:bodyPr/>
        <a:lstStyle/>
        <a:p>
          <a:endParaRPr lang="en-GB">
            <a:solidFill>
              <a:schemeClr val="tx1"/>
            </a:solidFill>
          </a:endParaRPr>
        </a:p>
      </dgm:t>
    </dgm:pt>
    <dgm:pt modelId="{9A7E722F-D005-476C-8D43-4076AB9F30B1}">
      <dgm:prSet phldrT="[Text]" custT="1"/>
      <dgm:spPr>
        <a:xfrm>
          <a:off x="87527" y="1551552"/>
          <a:ext cx="1858157"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Data is maintained in multiple systems that are not integrated</a:t>
          </a:r>
          <a:endParaRPr lang="en-GB" sz="1000" dirty="0">
            <a:solidFill>
              <a:sysClr val="windowText" lastClr="000000"/>
            </a:solidFill>
            <a:latin typeface="Lato"/>
            <a:ea typeface="+mn-ea"/>
            <a:cs typeface="+mn-cs"/>
          </a:endParaRPr>
        </a:p>
      </dgm:t>
    </dgm:pt>
    <dgm:pt modelId="{F2D49BD6-65DF-42A1-872F-280CCBA4DCCB}" type="parTrans" cxnId="{0F4674F9-D005-40C9-B531-F221C97655CF}">
      <dgm:prSet/>
      <dgm:spPr>
        <a:xfrm>
          <a:off x="1899965" y="1499617"/>
          <a:ext cx="91440" cy="277292"/>
        </a:xfrm>
        <a:noFill/>
        <a:ln w="12700" cap="flat" cmpd="sng" algn="ctr">
          <a:noFill/>
          <a:prstDash val="solid"/>
          <a:miter lim="800000"/>
        </a:ln>
        <a:effectLst/>
      </dgm:spPr>
      <dgm:t>
        <a:bodyPr/>
        <a:lstStyle/>
        <a:p>
          <a:endParaRPr lang="en-GB">
            <a:solidFill>
              <a:schemeClr val="tx1"/>
            </a:solidFill>
          </a:endParaRPr>
        </a:p>
      </dgm:t>
    </dgm:pt>
    <dgm:pt modelId="{E9B0E5CE-4B6A-49EA-81F0-70936ACBEAC6}" type="sibTrans" cxnId="{0F4674F9-D005-40C9-B531-F221C97655CF}">
      <dgm:prSet/>
      <dgm:spPr/>
      <dgm:t>
        <a:bodyPr/>
        <a:lstStyle/>
        <a:p>
          <a:endParaRPr lang="en-GB">
            <a:solidFill>
              <a:schemeClr val="tx1"/>
            </a:solidFill>
          </a:endParaRPr>
        </a:p>
      </dgm:t>
    </dgm:pt>
    <dgm:pt modelId="{E13C7255-99C3-463C-88B3-944FDDEDDCC1}">
      <dgm:prSet phldrT="[Text]" custT="1"/>
      <dgm:spPr>
        <a:xfrm>
          <a:off x="9905794" y="2583322"/>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Inadequate / Assurance gap on compliance </a:t>
          </a:r>
        </a:p>
      </dgm:t>
    </dgm:pt>
    <dgm:pt modelId="{D9CCD712-DF0C-486C-9EAE-42146F1FF777}" type="parTrans" cxnId="{2814F37C-D24A-44F6-A865-9CA9133E92C4}">
      <dgm:prSet/>
      <dgm:spPr>
        <a:xfrm>
          <a:off x="9860074" y="1494023"/>
          <a:ext cx="91440" cy="1314655"/>
        </a:xfrm>
        <a:noFill/>
        <a:ln w="12700" cap="flat" cmpd="sng" algn="ctr">
          <a:noFill/>
          <a:prstDash val="solid"/>
          <a:miter lim="800000"/>
        </a:ln>
        <a:effectLst/>
      </dgm:spPr>
      <dgm:t>
        <a:bodyPr/>
        <a:lstStyle/>
        <a:p>
          <a:endParaRPr lang="en-GB">
            <a:solidFill>
              <a:schemeClr val="tx1"/>
            </a:solidFill>
          </a:endParaRPr>
        </a:p>
      </dgm:t>
    </dgm:pt>
    <dgm:pt modelId="{731F01EC-ADF1-4DB2-8C85-331B10078BC3}" type="sibTrans" cxnId="{2814F37C-D24A-44F6-A865-9CA9133E92C4}">
      <dgm:prSet/>
      <dgm:spPr/>
      <dgm:t>
        <a:bodyPr/>
        <a:lstStyle/>
        <a:p>
          <a:endParaRPr lang="en-GB">
            <a:solidFill>
              <a:schemeClr val="tx1"/>
            </a:solidFill>
          </a:endParaRPr>
        </a:p>
      </dgm:t>
    </dgm:pt>
    <dgm:pt modelId="{4A08814D-C873-480C-BD28-7A65D53F71D8}">
      <dgm:prSet phldrT="[Text]" custT="1"/>
      <dgm:spPr>
        <a:xfrm>
          <a:off x="9905794" y="4198008"/>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Delays in investigations, inadequate consequence management</a:t>
          </a:r>
        </a:p>
      </dgm:t>
    </dgm:pt>
    <dgm:pt modelId="{143F3EEF-62D8-43AD-8063-BA1FD86AC836}" type="parTrans" cxnId="{EFD6FE5F-A43F-4B35-8B32-88E6299931AB}">
      <dgm:prSet/>
      <dgm:spPr>
        <a:xfrm>
          <a:off x="9860074" y="1494023"/>
          <a:ext cx="91440" cy="2929341"/>
        </a:xfrm>
        <a:noFill/>
        <a:ln w="12700" cap="flat" cmpd="sng" algn="ctr">
          <a:noFill/>
          <a:prstDash val="solid"/>
          <a:miter lim="800000"/>
        </a:ln>
        <a:effectLst/>
      </dgm:spPr>
      <dgm:t>
        <a:bodyPr/>
        <a:lstStyle/>
        <a:p>
          <a:endParaRPr lang="en-GB">
            <a:solidFill>
              <a:schemeClr val="tx1"/>
            </a:solidFill>
          </a:endParaRPr>
        </a:p>
      </dgm:t>
    </dgm:pt>
    <dgm:pt modelId="{129A8D46-961B-4A50-B8CF-A0116A842DB6}" type="sibTrans" cxnId="{EFD6FE5F-A43F-4B35-8B32-88E6299931AB}">
      <dgm:prSet/>
      <dgm:spPr/>
      <dgm:t>
        <a:bodyPr/>
        <a:lstStyle/>
        <a:p>
          <a:endParaRPr lang="en-GB">
            <a:solidFill>
              <a:schemeClr val="tx1"/>
            </a:solidFill>
          </a:endParaRPr>
        </a:p>
      </dgm:t>
    </dgm:pt>
    <dgm:pt modelId="{44283B74-6908-4E7F-9B11-0AFB346BE0A4}">
      <dgm:prSet phldrT="[Text]" custT="1"/>
      <dgm:spPr>
        <a:xfrm>
          <a:off x="9905794" y="4720142"/>
          <a:ext cx="1794480" cy="464401"/>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Lack of contract management at Regional/ Management Area level</a:t>
          </a:r>
        </a:p>
      </dgm:t>
    </dgm:pt>
    <dgm:pt modelId="{6C962E12-A7E7-4DBA-B1EE-60065B1DDA80}" type="parTrans" cxnId="{283E295D-081C-4040-8A51-2B21982470D6}">
      <dgm:prSet/>
      <dgm:spPr>
        <a:xfrm>
          <a:off x="9860074" y="1494023"/>
          <a:ext cx="91440" cy="3458319"/>
        </a:xfrm>
        <a:noFill/>
        <a:ln w="12700" cap="flat" cmpd="sng" algn="ctr">
          <a:noFill/>
          <a:prstDash val="solid"/>
          <a:miter lim="800000"/>
        </a:ln>
        <a:effectLst/>
      </dgm:spPr>
      <dgm:t>
        <a:bodyPr/>
        <a:lstStyle/>
        <a:p>
          <a:endParaRPr lang="en-GB">
            <a:solidFill>
              <a:schemeClr val="tx1"/>
            </a:solidFill>
          </a:endParaRPr>
        </a:p>
      </dgm:t>
    </dgm:pt>
    <dgm:pt modelId="{E875A126-A25B-4CD6-A40C-FEDBC81D9ECC}" type="sibTrans" cxnId="{283E295D-081C-4040-8A51-2B21982470D6}">
      <dgm:prSet/>
      <dgm:spPr/>
      <dgm:t>
        <a:bodyPr/>
        <a:lstStyle/>
        <a:p>
          <a:endParaRPr lang="en-GB">
            <a:solidFill>
              <a:schemeClr val="tx1"/>
            </a:solidFill>
          </a:endParaRPr>
        </a:p>
      </dgm:t>
    </dgm:pt>
    <dgm:pt modelId="{8CE32C3B-0D8F-4350-95E0-06E2647F48A5}">
      <dgm:prSet phldrT="[Text]" custT="1"/>
      <dgm:spPr>
        <a:xfrm>
          <a:off x="9905794" y="3649557"/>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Poor planning (demand management)</a:t>
          </a:r>
        </a:p>
      </dgm:t>
    </dgm:pt>
    <dgm:pt modelId="{CBD5489F-E4C0-487E-8E70-409B6544C7FE}" type="parTrans" cxnId="{7283AEC3-5A9D-49B3-B035-280F58A08BAC}">
      <dgm:prSet/>
      <dgm:spPr>
        <a:xfrm>
          <a:off x="9860074" y="1494023"/>
          <a:ext cx="91440" cy="2380890"/>
        </a:xfrm>
        <a:noFill/>
        <a:ln w="12700" cap="flat" cmpd="sng" algn="ctr">
          <a:noFill/>
          <a:prstDash val="solid"/>
          <a:miter lim="800000"/>
        </a:ln>
        <a:effectLst/>
      </dgm:spPr>
      <dgm:t>
        <a:bodyPr/>
        <a:lstStyle/>
        <a:p>
          <a:endParaRPr lang="en-GB">
            <a:solidFill>
              <a:schemeClr val="tx1"/>
            </a:solidFill>
          </a:endParaRPr>
        </a:p>
      </dgm:t>
    </dgm:pt>
    <dgm:pt modelId="{3D84A69F-E197-4E30-9927-1DF3D525EF39}" type="sibTrans" cxnId="{7283AEC3-5A9D-49B3-B035-280F58A08BAC}">
      <dgm:prSet/>
      <dgm:spPr/>
      <dgm:t>
        <a:bodyPr/>
        <a:lstStyle/>
        <a:p>
          <a:endParaRPr lang="en-GB">
            <a:solidFill>
              <a:schemeClr val="tx1"/>
            </a:solidFill>
          </a:endParaRPr>
        </a:p>
      </dgm:t>
    </dgm:pt>
    <dgm:pt modelId="{83E65023-33D0-46DA-A1B3-7F0C7C8C046D}">
      <dgm:prSet phldrT="[Text]" custT="1"/>
      <dgm:spPr>
        <a:xfrm>
          <a:off x="2512579" y="886592"/>
          <a:ext cx="2196003" cy="517130"/>
        </a:xfr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100" b="1" dirty="0" smtClean="0">
              <a:solidFill>
                <a:sysClr val="windowText" lastClr="000000"/>
              </a:solidFill>
              <a:latin typeface="Lato"/>
              <a:ea typeface="+mn-ea"/>
              <a:cs typeface="+mn-cs"/>
            </a:rPr>
            <a:t>Direct cause:</a:t>
          </a:r>
        </a:p>
        <a:p>
          <a:r>
            <a:rPr lang="en-ZA" sz="1100" b="1" dirty="0" smtClean="0">
              <a:solidFill>
                <a:sysClr val="windowText" lastClr="000000"/>
              </a:solidFill>
              <a:latin typeface="Lato"/>
              <a:ea typeface="+mn-ea"/>
              <a:cs typeface="+mn-cs"/>
            </a:rPr>
            <a:t>Inadequate organisational  capacity</a:t>
          </a:r>
          <a:endParaRPr lang="en-GB" sz="1100" b="1" dirty="0">
            <a:solidFill>
              <a:sysClr val="windowText" lastClr="000000"/>
            </a:solidFill>
            <a:latin typeface="Lato"/>
            <a:ea typeface="+mn-ea"/>
            <a:cs typeface="+mn-cs"/>
          </a:endParaRPr>
        </a:p>
      </dgm:t>
    </dgm:pt>
    <dgm:pt modelId="{5BCFE927-CDC4-4421-909F-E280F719A3A5}" type="parTrans" cxnId="{7B0495A3-A137-4827-9401-8B66BE8E00C2}">
      <dgm:prSet/>
      <dgm:spPr>
        <a:xfrm>
          <a:off x="3610581" y="776246"/>
          <a:ext cx="1695035" cy="91440"/>
        </a:xfrm>
        <a:noFill/>
        <a:ln w="12700" cap="flat" cmpd="sng" algn="ctr">
          <a:noFill/>
          <a:prstDash val="solid"/>
          <a:miter lim="800000"/>
        </a:ln>
        <a:effectLst/>
      </dgm:spPr>
      <dgm:t>
        <a:bodyPr/>
        <a:lstStyle/>
        <a:p>
          <a:endParaRPr lang="en-GB"/>
        </a:p>
      </dgm:t>
    </dgm:pt>
    <dgm:pt modelId="{41873B5B-5F5A-4CF2-999E-5FE4C038B5D3}" type="sibTrans" cxnId="{7B0495A3-A137-4827-9401-8B66BE8E00C2}">
      <dgm:prSet/>
      <dgm:spPr/>
      <dgm:t>
        <a:bodyPr/>
        <a:lstStyle/>
        <a:p>
          <a:endParaRPr lang="en-GB"/>
        </a:p>
      </dgm:t>
    </dgm:pt>
    <dgm:pt modelId="{E9AADBDC-3898-4643-98BB-93A35F6F1C1F}">
      <dgm:prSet custT="1"/>
      <dgm:spPr>
        <a:xfrm>
          <a:off x="4919463" y="886592"/>
          <a:ext cx="2196003" cy="551606"/>
        </a:xfrm>
        <a:solidFill>
          <a:srgbClr val="D9EAD9"/>
        </a:solidFill>
        <a:ln w="12700" cap="flat" cmpd="sng" algn="ctr">
          <a:solidFill>
            <a:sysClr val="window" lastClr="FFFFFF">
              <a:hueOff val="0"/>
              <a:satOff val="0"/>
              <a:lumOff val="0"/>
              <a:alphaOff val="0"/>
            </a:sysClr>
          </a:solidFill>
          <a:prstDash val="solid"/>
          <a:miter lim="800000"/>
        </a:ln>
        <a:effectLst/>
      </dgm:spPr>
      <dgm:t>
        <a:bodyPr/>
        <a:lstStyle/>
        <a:p>
          <a:r>
            <a:rPr lang="en-ZA" sz="1400" b="1" dirty="0" smtClean="0">
              <a:solidFill>
                <a:sysClr val="windowText" lastClr="000000"/>
              </a:solidFill>
              <a:latin typeface="Lato"/>
              <a:ea typeface="+mn-ea"/>
              <a:cs typeface="+mn-cs"/>
            </a:rPr>
            <a:t>Direct cause:</a:t>
          </a:r>
        </a:p>
        <a:p>
          <a:r>
            <a:rPr lang="en-ZA" sz="1400" b="1" dirty="0" smtClean="0">
              <a:solidFill>
                <a:sysClr val="windowText" lastClr="000000"/>
              </a:solidFill>
              <a:latin typeface="Lato"/>
              <a:ea typeface="+mn-ea"/>
              <a:cs typeface="+mn-cs"/>
            </a:rPr>
            <a:t>Lowly skilled staff</a:t>
          </a:r>
          <a:endParaRPr lang="en-GB" sz="1400" b="1" dirty="0">
            <a:solidFill>
              <a:sysClr val="windowText" lastClr="000000"/>
            </a:solidFill>
            <a:latin typeface="Lato"/>
            <a:ea typeface="+mn-ea"/>
            <a:cs typeface="+mn-cs"/>
          </a:endParaRPr>
        </a:p>
      </dgm:t>
    </dgm:pt>
    <dgm:pt modelId="{3CFDB6E9-11D5-4EF0-A84F-588AF277B995}" type="parTrans" cxnId="{133C2F8B-2205-4D82-A49C-08BF37C9CA3D}">
      <dgm:prSet/>
      <dgm:spPr>
        <a:xfrm>
          <a:off x="5305616" y="776246"/>
          <a:ext cx="711848" cy="91440"/>
        </a:xfrm>
        <a:noFill/>
        <a:ln w="12700" cap="flat" cmpd="sng" algn="ctr">
          <a:noFill/>
          <a:prstDash val="solid"/>
          <a:miter lim="800000"/>
        </a:ln>
        <a:effectLst/>
      </dgm:spPr>
      <dgm:t>
        <a:bodyPr/>
        <a:lstStyle/>
        <a:p>
          <a:endParaRPr lang="en-GB"/>
        </a:p>
      </dgm:t>
    </dgm:pt>
    <dgm:pt modelId="{F6738647-C183-4A57-A2B7-E23A6AB95EC2}" type="sibTrans" cxnId="{133C2F8B-2205-4D82-A49C-08BF37C9CA3D}">
      <dgm:prSet/>
      <dgm:spPr/>
      <dgm:t>
        <a:bodyPr/>
        <a:lstStyle/>
        <a:p>
          <a:endParaRPr lang="en-GB"/>
        </a:p>
      </dgm:t>
    </dgm:pt>
    <dgm:pt modelId="{25DBDE9B-DA2B-4E29-B989-575DA86021B8}">
      <dgm:prSet custT="1"/>
      <dgm:spPr>
        <a:xfrm>
          <a:off x="5058557" y="1527813"/>
          <a:ext cx="2027076" cy="674880"/>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Inadequate training and leadership development</a:t>
          </a:r>
          <a:endParaRPr lang="en-GB" sz="1200" dirty="0">
            <a:solidFill>
              <a:sysClr val="windowText" lastClr="000000"/>
            </a:solidFill>
            <a:latin typeface="Lato"/>
            <a:ea typeface="+mn-ea"/>
            <a:cs typeface="+mn-cs"/>
          </a:endParaRPr>
        </a:p>
      </dgm:t>
    </dgm:pt>
    <dgm:pt modelId="{3434C784-D2EB-4907-A577-1424C17A4231}" type="parTrans" cxnId="{AA6359FF-4F85-4ED4-8C88-2B1E5DA2435B}">
      <dgm:prSet/>
      <dgm:spPr>
        <a:xfrm>
          <a:off x="5012837" y="1438198"/>
          <a:ext cx="91440" cy="427055"/>
        </a:xfrm>
        <a:noFill/>
        <a:ln w="12700" cap="flat" cmpd="sng" algn="ctr">
          <a:noFill/>
          <a:prstDash val="solid"/>
          <a:miter lim="800000"/>
        </a:ln>
        <a:effectLst/>
      </dgm:spPr>
      <dgm:t>
        <a:bodyPr/>
        <a:lstStyle/>
        <a:p>
          <a:endParaRPr lang="en-GB"/>
        </a:p>
      </dgm:t>
    </dgm:pt>
    <dgm:pt modelId="{50EDEB7E-A84B-4457-B895-1CBBC66EB484}" type="sibTrans" cxnId="{AA6359FF-4F85-4ED4-8C88-2B1E5DA2435B}">
      <dgm:prSet/>
      <dgm:spPr/>
      <dgm:t>
        <a:bodyPr/>
        <a:lstStyle/>
        <a:p>
          <a:endParaRPr lang="en-GB"/>
        </a:p>
      </dgm:t>
    </dgm:pt>
    <dgm:pt modelId="{36F930DE-36A9-4BBF-B0E6-9FDFEF9E53E4}">
      <dgm:prSet custT="1"/>
      <dgm:spPr>
        <a:xfrm>
          <a:off x="5075414" y="2310708"/>
          <a:ext cx="2027076" cy="639364"/>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Lack of talent management strategy</a:t>
          </a:r>
          <a:endParaRPr lang="en-GB" sz="1200" dirty="0">
            <a:solidFill>
              <a:sysClr val="windowText" lastClr="000000"/>
            </a:solidFill>
            <a:latin typeface="Lato"/>
            <a:ea typeface="+mn-ea"/>
            <a:cs typeface="+mn-cs"/>
          </a:endParaRPr>
        </a:p>
      </dgm:t>
    </dgm:pt>
    <dgm:pt modelId="{EB2D0AFA-7107-4A7F-B30A-85794C6D48A5}" type="parTrans" cxnId="{743F7899-4BBB-4EEF-86C9-0967FD1E65A9}">
      <dgm:prSet/>
      <dgm:spPr>
        <a:xfrm>
          <a:off x="5029694" y="1438198"/>
          <a:ext cx="91440" cy="1192191"/>
        </a:xfrm>
        <a:noFill/>
        <a:ln w="12700" cap="flat" cmpd="sng" algn="ctr">
          <a:noFill/>
          <a:prstDash val="solid"/>
          <a:miter lim="800000"/>
        </a:ln>
        <a:effectLst/>
      </dgm:spPr>
      <dgm:t>
        <a:bodyPr/>
        <a:lstStyle/>
        <a:p>
          <a:endParaRPr lang="en-GB"/>
        </a:p>
      </dgm:t>
    </dgm:pt>
    <dgm:pt modelId="{D3C4AB0A-4E1C-47C7-BEF5-32E8F3E7149D}" type="sibTrans" cxnId="{743F7899-4BBB-4EEF-86C9-0967FD1E65A9}">
      <dgm:prSet/>
      <dgm:spPr/>
      <dgm:t>
        <a:bodyPr/>
        <a:lstStyle/>
        <a:p>
          <a:endParaRPr lang="en-GB"/>
        </a:p>
      </dgm:t>
    </dgm:pt>
    <dgm:pt modelId="{2FEE9ABB-9118-4F89-B57E-5FB3AE26A9DD}">
      <dgm:prSet phldrT="[Text]" custT="1"/>
      <dgm:spPr>
        <a:xfrm>
          <a:off x="9902486" y="1561013"/>
          <a:ext cx="1794480"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Unethical conduct</a:t>
          </a:r>
        </a:p>
      </dgm:t>
    </dgm:pt>
    <dgm:pt modelId="{053B73E8-8B63-4D84-B935-856163DE1EFC}" type="parTrans" cxnId="{0606DEBD-A738-45F8-878E-22E1464A165A}">
      <dgm:prSet/>
      <dgm:spPr>
        <a:xfrm>
          <a:off x="9856766" y="1494023"/>
          <a:ext cx="91440" cy="292346"/>
        </a:xfrm>
        <a:noFill/>
        <a:ln w="12700" cap="flat" cmpd="sng" algn="ctr">
          <a:noFill/>
          <a:prstDash val="solid"/>
          <a:miter lim="800000"/>
        </a:ln>
        <a:effectLst/>
      </dgm:spPr>
      <dgm:t>
        <a:bodyPr/>
        <a:lstStyle/>
        <a:p>
          <a:endParaRPr lang="en-GB"/>
        </a:p>
      </dgm:t>
    </dgm:pt>
    <dgm:pt modelId="{F9266172-523F-4991-A3D1-6A0955532AA2}" type="sibTrans" cxnId="{0606DEBD-A738-45F8-878E-22E1464A165A}">
      <dgm:prSet/>
      <dgm:spPr/>
      <dgm:t>
        <a:bodyPr/>
        <a:lstStyle/>
        <a:p>
          <a:endParaRPr lang="en-GB"/>
        </a:p>
      </dgm:t>
    </dgm:pt>
    <dgm:pt modelId="{A8A7589E-3DC7-45D1-8F72-BB5B052E3F69}">
      <dgm:prSet custT="1"/>
      <dgm:spPr>
        <a:xfrm>
          <a:off x="87527" y="2072113"/>
          <a:ext cx="1858157"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Manual systems that are prone to human error, high security risks</a:t>
          </a:r>
          <a:endParaRPr lang="en-GB" sz="1000" dirty="0" smtClean="0">
            <a:solidFill>
              <a:sysClr val="windowText" lastClr="000000"/>
            </a:solidFill>
            <a:latin typeface="Lato"/>
            <a:ea typeface="+mn-ea"/>
            <a:cs typeface="+mn-cs"/>
          </a:endParaRPr>
        </a:p>
      </dgm:t>
    </dgm:pt>
    <dgm:pt modelId="{A4FDCB02-4C5E-4D69-833B-37E08536214A}" type="parTrans" cxnId="{D5BEF9F0-CA14-4245-AF76-AA1EDD37020C}">
      <dgm:prSet/>
      <dgm:spPr>
        <a:xfrm>
          <a:off x="1899965" y="1499617"/>
          <a:ext cx="91440" cy="797853"/>
        </a:xfrm>
        <a:noFill/>
        <a:ln w="12700" cap="flat" cmpd="sng" algn="ctr">
          <a:noFill/>
          <a:prstDash val="solid"/>
          <a:miter lim="800000"/>
        </a:ln>
        <a:effectLst/>
      </dgm:spPr>
      <dgm:t>
        <a:bodyPr/>
        <a:lstStyle/>
        <a:p>
          <a:endParaRPr lang="en-GB"/>
        </a:p>
      </dgm:t>
    </dgm:pt>
    <dgm:pt modelId="{8F84F8C6-91B2-45A5-90E5-6C25B3D5C642}" type="sibTrans" cxnId="{D5BEF9F0-CA14-4245-AF76-AA1EDD37020C}">
      <dgm:prSet/>
      <dgm:spPr/>
      <dgm:t>
        <a:bodyPr/>
        <a:lstStyle/>
        <a:p>
          <a:endParaRPr lang="en-GB"/>
        </a:p>
      </dgm:t>
    </dgm:pt>
    <dgm:pt modelId="{8AFF9318-8DC2-4264-8170-0C61AAFD79FE}">
      <dgm:prSet custT="1"/>
      <dgm:spPr>
        <a:xfrm>
          <a:off x="87527" y="2594252"/>
          <a:ext cx="1858157"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GB" sz="1100" dirty="0" smtClean="0">
              <a:solidFill>
                <a:sysClr val="windowText" lastClr="000000"/>
              </a:solidFill>
              <a:latin typeface="Lato"/>
              <a:ea typeface="+mn-ea"/>
              <a:cs typeface="+mn-cs"/>
            </a:rPr>
            <a:t>Inadequate ICT connectivity (bandwidth)</a:t>
          </a:r>
        </a:p>
      </dgm:t>
    </dgm:pt>
    <dgm:pt modelId="{2536716E-9789-487C-BB4D-6AEC03913F78}" type="parTrans" cxnId="{19D485BA-3A07-4762-8298-37C38471E62F}">
      <dgm:prSet/>
      <dgm:spPr>
        <a:xfrm>
          <a:off x="1899965" y="1499617"/>
          <a:ext cx="91440" cy="1319991"/>
        </a:xfrm>
        <a:noFill/>
        <a:ln w="12700" cap="flat" cmpd="sng" algn="ctr">
          <a:noFill/>
          <a:prstDash val="solid"/>
          <a:miter lim="800000"/>
        </a:ln>
        <a:effectLst/>
      </dgm:spPr>
      <dgm:t>
        <a:bodyPr/>
        <a:lstStyle/>
        <a:p>
          <a:endParaRPr lang="en-GB"/>
        </a:p>
      </dgm:t>
    </dgm:pt>
    <dgm:pt modelId="{666101ED-8211-4982-9264-B193DFA3F7F5}" type="sibTrans" cxnId="{19D485BA-3A07-4762-8298-37C38471E62F}">
      <dgm:prSet/>
      <dgm:spPr/>
      <dgm:t>
        <a:bodyPr/>
        <a:lstStyle/>
        <a:p>
          <a:endParaRPr lang="en-GB"/>
        </a:p>
      </dgm:t>
    </dgm:pt>
    <dgm:pt modelId="{1ABE179A-0583-4343-B229-7613337F1F01}">
      <dgm:prSet custT="1"/>
      <dgm:spPr>
        <a:xfrm>
          <a:off x="87527" y="3116386"/>
          <a:ext cx="1858157"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Old infrastructure that is obsolete</a:t>
          </a:r>
          <a:endParaRPr lang="en-GB" sz="1200" dirty="0" smtClean="0">
            <a:solidFill>
              <a:sysClr val="windowText" lastClr="000000"/>
            </a:solidFill>
            <a:latin typeface="Lato"/>
            <a:ea typeface="+mn-ea"/>
            <a:cs typeface="+mn-cs"/>
          </a:endParaRPr>
        </a:p>
      </dgm:t>
    </dgm:pt>
    <dgm:pt modelId="{A8EDCBF5-48EE-49F5-8B6F-59FB4A586749}" type="parTrans" cxnId="{6AD3CF5A-10F3-453F-9365-B644F44C4A8C}">
      <dgm:prSet/>
      <dgm:spPr>
        <a:xfrm>
          <a:off x="1899965" y="1499617"/>
          <a:ext cx="91440" cy="1842125"/>
        </a:xfrm>
        <a:noFill/>
        <a:ln w="12700" cap="flat" cmpd="sng" algn="ctr">
          <a:noFill/>
          <a:prstDash val="solid"/>
          <a:miter lim="800000"/>
        </a:ln>
        <a:effectLst/>
      </dgm:spPr>
      <dgm:t>
        <a:bodyPr/>
        <a:lstStyle/>
        <a:p>
          <a:endParaRPr lang="en-GB"/>
        </a:p>
      </dgm:t>
    </dgm:pt>
    <dgm:pt modelId="{DBF07675-A5B8-400A-9E2A-E3662E5E1631}" type="sibTrans" cxnId="{6AD3CF5A-10F3-453F-9365-B644F44C4A8C}">
      <dgm:prSet/>
      <dgm:spPr/>
      <dgm:t>
        <a:bodyPr/>
        <a:lstStyle/>
        <a:p>
          <a:endParaRPr lang="en-GB"/>
        </a:p>
      </dgm:t>
    </dgm:pt>
    <dgm:pt modelId="{B3CDC9F2-1FA6-4E0F-8439-B8268D9B8069}">
      <dgm:prSet custT="1"/>
      <dgm:spPr>
        <a:xfrm>
          <a:off x="87527" y="3713112"/>
          <a:ext cx="1858157" cy="60384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Lack of  security technology standard to meet functional requirements</a:t>
          </a:r>
          <a:endParaRPr lang="en-GB" sz="1050" dirty="0" smtClean="0">
            <a:solidFill>
              <a:sysClr val="windowText" lastClr="000000"/>
            </a:solidFill>
            <a:latin typeface="Lato"/>
            <a:ea typeface="+mn-ea"/>
            <a:cs typeface="+mn-cs"/>
          </a:endParaRPr>
        </a:p>
      </dgm:t>
    </dgm:pt>
    <dgm:pt modelId="{74CFB57A-27E6-492C-AA1E-444AA012A6C4}" type="parTrans" cxnId="{EEFEDA24-8561-4FEC-9D00-07968C607754}">
      <dgm:prSet/>
      <dgm:spPr>
        <a:xfrm>
          <a:off x="1899965" y="1499617"/>
          <a:ext cx="91440" cy="2515417"/>
        </a:xfrm>
        <a:noFill/>
        <a:ln w="12700" cap="flat" cmpd="sng" algn="ctr">
          <a:noFill/>
          <a:prstDash val="solid"/>
          <a:miter lim="800000"/>
        </a:ln>
        <a:effectLst/>
      </dgm:spPr>
      <dgm:t>
        <a:bodyPr/>
        <a:lstStyle/>
        <a:p>
          <a:endParaRPr lang="en-GB"/>
        </a:p>
      </dgm:t>
    </dgm:pt>
    <dgm:pt modelId="{B0125F60-2B77-4FFD-9FBC-A9FA2F50345F}" type="sibTrans" cxnId="{EEFEDA24-8561-4FEC-9D00-07968C607754}">
      <dgm:prSet/>
      <dgm:spPr/>
      <dgm:t>
        <a:bodyPr/>
        <a:lstStyle/>
        <a:p>
          <a:endParaRPr lang="en-GB"/>
        </a:p>
      </dgm:t>
    </dgm:pt>
    <dgm:pt modelId="{55C81A84-977C-474F-9898-E3299C72446E}">
      <dgm:prSet custT="1"/>
      <dgm:spPr>
        <a:xfrm>
          <a:off x="87527" y="4388381"/>
          <a:ext cx="1858157" cy="781442"/>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Dysfunctional and ineffective of Security Technology (no integration between Information Network and Security Technology)</a:t>
          </a:r>
          <a:endParaRPr lang="en-GB" sz="1000" dirty="0" smtClean="0">
            <a:solidFill>
              <a:sysClr val="windowText" lastClr="000000"/>
            </a:solidFill>
            <a:latin typeface="Lato"/>
            <a:ea typeface="+mn-ea"/>
            <a:cs typeface="+mn-cs"/>
          </a:endParaRPr>
        </a:p>
      </dgm:t>
    </dgm:pt>
    <dgm:pt modelId="{85EB6D14-3548-49D4-9B2D-95B6FE3E896E}" type="parTrans" cxnId="{9E42F9B0-FA3B-424E-96E5-FB6842016EA0}">
      <dgm:prSet/>
      <dgm:spPr>
        <a:xfrm>
          <a:off x="1899965" y="1499617"/>
          <a:ext cx="91440" cy="3279485"/>
        </a:xfrm>
        <a:noFill/>
        <a:ln w="12700" cap="flat" cmpd="sng" algn="ctr">
          <a:noFill/>
          <a:prstDash val="solid"/>
          <a:miter lim="800000"/>
        </a:ln>
        <a:effectLst/>
      </dgm:spPr>
      <dgm:t>
        <a:bodyPr/>
        <a:lstStyle/>
        <a:p>
          <a:endParaRPr lang="en-GB"/>
        </a:p>
      </dgm:t>
    </dgm:pt>
    <dgm:pt modelId="{9018FE6B-7938-4F58-8E7C-8780258137CC}" type="sibTrans" cxnId="{9E42F9B0-FA3B-424E-96E5-FB6842016EA0}">
      <dgm:prSet/>
      <dgm:spPr/>
      <dgm:t>
        <a:bodyPr/>
        <a:lstStyle/>
        <a:p>
          <a:endParaRPr lang="en-GB"/>
        </a:p>
      </dgm:t>
    </dgm:pt>
    <dgm:pt modelId="{1E3C57A8-D11A-4464-B252-393BA62CA1A4}">
      <dgm:prSet/>
      <dgm:spPr>
        <a:xfrm>
          <a:off x="2613381" y="4595980"/>
          <a:ext cx="1955953" cy="450713"/>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Inadequate investment in integrated employee health and wellness</a:t>
          </a:r>
          <a:endParaRPr lang="en-GB" dirty="0">
            <a:solidFill>
              <a:sysClr val="windowText" lastClr="000000"/>
            </a:solidFill>
            <a:latin typeface="Lato"/>
            <a:ea typeface="+mn-ea"/>
            <a:cs typeface="+mn-cs"/>
          </a:endParaRPr>
        </a:p>
      </dgm:t>
    </dgm:pt>
    <dgm:pt modelId="{88907CE6-6462-4C5F-8943-6C7E5D76B19C}" type="parTrans" cxnId="{75AFB2F3-479B-494C-B247-2CE3D35FC60B}">
      <dgm:prSet/>
      <dgm:spPr>
        <a:xfrm>
          <a:off x="4443262" y="1403723"/>
          <a:ext cx="91440" cy="3417613"/>
        </a:xfrm>
        <a:noFill/>
        <a:ln w="12700" cap="flat" cmpd="sng" algn="ctr">
          <a:noFill/>
          <a:prstDash val="solid"/>
          <a:miter lim="800000"/>
        </a:ln>
        <a:effectLst/>
      </dgm:spPr>
      <dgm:t>
        <a:bodyPr/>
        <a:lstStyle/>
        <a:p>
          <a:endParaRPr lang="en-GB"/>
        </a:p>
      </dgm:t>
    </dgm:pt>
    <dgm:pt modelId="{544D910C-A3DC-4303-885C-9D01D7F73DFF}" type="sibTrans" cxnId="{75AFB2F3-479B-494C-B247-2CE3D35FC60B}">
      <dgm:prSet/>
      <dgm:spPr/>
      <dgm:t>
        <a:bodyPr/>
        <a:lstStyle/>
        <a:p>
          <a:endParaRPr lang="en-GB"/>
        </a:p>
      </dgm:t>
    </dgm:pt>
    <dgm:pt modelId="{F29A0D9E-A4D4-4086-BF87-078907F654D3}">
      <dgm:prSet custT="1"/>
      <dgm:spPr>
        <a:xfrm>
          <a:off x="5066869" y="3021618"/>
          <a:ext cx="2027076" cy="640130"/>
        </a:xfrm>
        <a:solidFill>
          <a:srgbClr val="D6C29E"/>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Inadequate </a:t>
          </a:r>
          <a:r>
            <a:rPr lang="en-ZA" sz="1200" dirty="0" err="1" smtClean="0">
              <a:solidFill>
                <a:sysClr val="windowText" lastClr="000000"/>
              </a:solidFill>
              <a:latin typeface="Lato"/>
              <a:ea typeface="+mn-ea"/>
              <a:cs typeface="+mn-cs"/>
            </a:rPr>
            <a:t>Covid</a:t>
          </a:r>
          <a:r>
            <a:rPr lang="en-ZA" sz="1200" dirty="0" smtClean="0">
              <a:solidFill>
                <a:sysClr val="windowText" lastClr="000000"/>
              </a:solidFill>
              <a:latin typeface="Lato"/>
              <a:ea typeface="+mn-ea"/>
              <a:cs typeface="+mn-cs"/>
            </a:rPr>
            <a:t> 19 awareness among officials</a:t>
          </a:r>
          <a:endParaRPr lang="en-GB" sz="1200" dirty="0">
            <a:solidFill>
              <a:sysClr val="windowText" lastClr="000000"/>
            </a:solidFill>
            <a:latin typeface="Lato"/>
            <a:ea typeface="+mn-ea"/>
            <a:cs typeface="+mn-cs"/>
          </a:endParaRPr>
        </a:p>
      </dgm:t>
    </dgm:pt>
    <dgm:pt modelId="{85F876EE-37BA-45E8-8766-D372D6B5A6B4}" type="parTrans" cxnId="{2C8C894A-A07D-4904-95D1-C54BA9177EDD}">
      <dgm:prSet/>
      <dgm:spPr>
        <a:xfrm>
          <a:off x="5021149" y="1438198"/>
          <a:ext cx="91440" cy="1903485"/>
        </a:xfrm>
        <a:noFill/>
        <a:ln w="12700" cap="flat" cmpd="sng" algn="ctr">
          <a:noFill/>
          <a:prstDash val="solid"/>
          <a:miter lim="800000"/>
        </a:ln>
        <a:effectLst/>
      </dgm:spPr>
      <dgm:t>
        <a:bodyPr/>
        <a:lstStyle/>
        <a:p>
          <a:endParaRPr lang="en-GB"/>
        </a:p>
      </dgm:t>
    </dgm:pt>
    <dgm:pt modelId="{DD5D082F-12EE-4E5C-86FC-FF114B8B3083}" type="sibTrans" cxnId="{2C8C894A-A07D-4904-95D1-C54BA9177EDD}">
      <dgm:prSet/>
      <dgm:spPr/>
      <dgm:t>
        <a:bodyPr/>
        <a:lstStyle/>
        <a:p>
          <a:endParaRPr lang="en-GB"/>
        </a:p>
      </dgm:t>
    </dgm:pt>
    <dgm:pt modelId="{2AC042F1-67EC-4815-A747-C27DA26D9618}" type="pres">
      <dgm:prSet presAssocID="{8022EEFC-19A3-4AF2-888C-321CE5B24E4C}" presName="hierChild1" presStyleCnt="0">
        <dgm:presLayoutVars>
          <dgm:orgChart val="1"/>
          <dgm:chPref val="1"/>
          <dgm:dir/>
          <dgm:animOne val="branch"/>
          <dgm:animLvl val="lvl"/>
          <dgm:resizeHandles/>
        </dgm:presLayoutVars>
      </dgm:prSet>
      <dgm:spPr/>
      <dgm:t>
        <a:bodyPr/>
        <a:lstStyle/>
        <a:p>
          <a:endParaRPr lang="en-GB"/>
        </a:p>
      </dgm:t>
    </dgm:pt>
    <dgm:pt modelId="{FB279467-F3D0-4A2A-9DFD-7DF66D00DCAB}" type="pres">
      <dgm:prSet presAssocID="{563B9CF3-40AE-4F6D-9802-FBE29F2DB0FD}" presName="hierRoot1" presStyleCnt="0">
        <dgm:presLayoutVars>
          <dgm:hierBranch val="init"/>
        </dgm:presLayoutVars>
      </dgm:prSet>
      <dgm:spPr/>
    </dgm:pt>
    <dgm:pt modelId="{EA635651-E5EE-4B65-A430-C8E1B4EEAABF}" type="pres">
      <dgm:prSet presAssocID="{563B9CF3-40AE-4F6D-9802-FBE29F2DB0FD}" presName="rootComposite1" presStyleCnt="0"/>
      <dgm:spPr/>
    </dgm:pt>
    <dgm:pt modelId="{A9E37B58-C84D-4333-9EB6-FEA63F667BD6}" type="pres">
      <dgm:prSet presAssocID="{563B9CF3-40AE-4F6D-9802-FBE29F2DB0FD}" presName="rootText1" presStyleLbl="node0" presStyleIdx="0" presStyleCnt="1" custScaleX="1148068" custScaleY="182370" custLinFactNeighborX="-86428" custLinFactNeighborY="-5584">
        <dgm:presLayoutVars>
          <dgm:chPref val="3"/>
        </dgm:presLayoutVars>
      </dgm:prSet>
      <dgm:spPr>
        <a:prstGeom prst="rect">
          <a:avLst/>
        </a:prstGeom>
      </dgm:spPr>
      <dgm:t>
        <a:bodyPr/>
        <a:lstStyle/>
        <a:p>
          <a:endParaRPr lang="en-GB"/>
        </a:p>
      </dgm:t>
    </dgm:pt>
    <dgm:pt modelId="{71995690-C90E-4D6E-B859-E011C699A051}" type="pres">
      <dgm:prSet presAssocID="{563B9CF3-40AE-4F6D-9802-FBE29F2DB0FD}" presName="rootConnector1" presStyleLbl="node1" presStyleIdx="0" presStyleCnt="0"/>
      <dgm:spPr/>
      <dgm:t>
        <a:bodyPr/>
        <a:lstStyle/>
        <a:p>
          <a:endParaRPr lang="en-GB"/>
        </a:p>
      </dgm:t>
    </dgm:pt>
    <dgm:pt modelId="{066E69C0-C6CF-4B2F-9503-59BB14177765}" type="pres">
      <dgm:prSet presAssocID="{563B9CF3-40AE-4F6D-9802-FBE29F2DB0FD}" presName="hierChild2" presStyleCnt="0"/>
      <dgm:spPr/>
    </dgm:pt>
    <dgm:pt modelId="{DE7B0CDF-331C-43D7-B14C-4D2214ECC84C}" type="pres">
      <dgm:prSet presAssocID="{A0F550C9-0B7E-4467-B60C-2FE33DB848F1}" presName="Name37" presStyleLbl="parChTrans1D2" presStyleIdx="0" presStyleCnt="5"/>
      <dgm:spPr>
        <a:custGeom>
          <a:avLst/>
          <a:gdLst/>
          <a:ahLst/>
          <a:cxnLst/>
          <a:rect l="0" t="0" r="0" b="0"/>
          <a:pathLst>
            <a:path>
              <a:moveTo>
                <a:pt x="4207614" y="45720"/>
              </a:moveTo>
              <a:lnTo>
                <a:pt x="0" y="45720"/>
              </a:lnTo>
              <a:lnTo>
                <a:pt x="0" y="111368"/>
              </a:lnTo>
            </a:path>
          </a:pathLst>
        </a:custGeom>
      </dgm:spPr>
      <dgm:t>
        <a:bodyPr/>
        <a:lstStyle/>
        <a:p>
          <a:endParaRPr lang="en-GB"/>
        </a:p>
      </dgm:t>
    </dgm:pt>
    <dgm:pt modelId="{E95E3131-A08A-43F9-AFEC-504F1171E205}" type="pres">
      <dgm:prSet presAssocID="{27C0C58C-3A95-4427-952F-34ADD3E4CA9C}" presName="hierRoot2" presStyleCnt="0">
        <dgm:presLayoutVars>
          <dgm:hierBranch val="l"/>
        </dgm:presLayoutVars>
      </dgm:prSet>
      <dgm:spPr/>
    </dgm:pt>
    <dgm:pt modelId="{EFC54E5C-7C6E-422C-87D3-57DFC09957EE}" type="pres">
      <dgm:prSet presAssocID="{27C0C58C-3A95-4427-952F-34ADD3E4CA9C}" presName="rootComposite" presStyleCnt="0"/>
      <dgm:spPr/>
    </dgm:pt>
    <dgm:pt modelId="{5C9EBB69-F299-433C-9832-400183B089DB}" type="pres">
      <dgm:prSet presAssocID="{27C0C58C-3A95-4427-952F-34ADD3E4CA9C}" presName="rootText" presStyleLbl="node2" presStyleIdx="0" presStyleCnt="5" custScaleX="243614" custScaleY="135785" custLinFactNeighborX="-24990" custLinFactNeighborY="-29859">
        <dgm:presLayoutVars>
          <dgm:chPref val="3"/>
        </dgm:presLayoutVars>
      </dgm:prSet>
      <dgm:spPr>
        <a:prstGeom prst="rect">
          <a:avLst/>
        </a:prstGeom>
      </dgm:spPr>
      <dgm:t>
        <a:bodyPr/>
        <a:lstStyle/>
        <a:p>
          <a:endParaRPr lang="en-GB"/>
        </a:p>
      </dgm:t>
    </dgm:pt>
    <dgm:pt modelId="{5658B9D7-A9F2-4897-B0C6-17D9C45E1BD9}" type="pres">
      <dgm:prSet presAssocID="{27C0C58C-3A95-4427-952F-34ADD3E4CA9C}" presName="rootConnector" presStyleLbl="node2" presStyleIdx="0" presStyleCnt="5"/>
      <dgm:spPr/>
      <dgm:t>
        <a:bodyPr/>
        <a:lstStyle/>
        <a:p>
          <a:endParaRPr lang="en-GB"/>
        </a:p>
      </dgm:t>
    </dgm:pt>
    <dgm:pt modelId="{3920BFA3-AC5C-4424-ACD7-7E148C18359E}" type="pres">
      <dgm:prSet presAssocID="{27C0C58C-3A95-4427-952F-34ADD3E4CA9C}" presName="hierChild4" presStyleCnt="0"/>
      <dgm:spPr/>
    </dgm:pt>
    <dgm:pt modelId="{72ADB7DE-FFDE-43B9-98C0-716921DBE890}" type="pres">
      <dgm:prSet presAssocID="{F2D49BD6-65DF-42A1-872F-280CCBA4DCCB}" presName="Name50" presStyleLbl="parChTrans1D3" presStyleIdx="0" presStyleCnt="26"/>
      <dgm:spPr>
        <a:custGeom>
          <a:avLst/>
          <a:gdLst/>
          <a:ahLst/>
          <a:cxnLst/>
          <a:rect l="0" t="0" r="0" b="0"/>
          <a:pathLst>
            <a:path>
              <a:moveTo>
                <a:pt x="76437" y="0"/>
              </a:moveTo>
              <a:lnTo>
                <a:pt x="76437" y="277292"/>
              </a:lnTo>
              <a:lnTo>
                <a:pt x="45720" y="277292"/>
              </a:lnTo>
            </a:path>
          </a:pathLst>
        </a:custGeom>
      </dgm:spPr>
      <dgm:t>
        <a:bodyPr/>
        <a:lstStyle/>
        <a:p>
          <a:endParaRPr lang="en-GB"/>
        </a:p>
      </dgm:t>
    </dgm:pt>
    <dgm:pt modelId="{E8072A26-277D-405E-9401-0A1FDF34E5D4}" type="pres">
      <dgm:prSet presAssocID="{9A7E722F-D005-476C-8D43-4076AB9F30B1}" presName="hierRoot2" presStyleCnt="0">
        <dgm:presLayoutVars>
          <dgm:hierBranch val="init"/>
        </dgm:presLayoutVars>
      </dgm:prSet>
      <dgm:spPr/>
    </dgm:pt>
    <dgm:pt modelId="{27EF17A1-D922-409F-996E-C9E02B5875EB}" type="pres">
      <dgm:prSet presAssocID="{9A7E722F-D005-476C-8D43-4076AB9F30B1}" presName="rootComposite" presStyleCnt="0"/>
      <dgm:spPr/>
    </dgm:pt>
    <dgm:pt modelId="{EC6C2DB6-0354-41F7-B81C-792F0FA9A4EE}" type="pres">
      <dgm:prSet presAssocID="{9A7E722F-D005-476C-8D43-4076AB9F30B1}" presName="rootText" presStyleLbl="node3" presStyleIdx="0" presStyleCnt="26" custScaleX="206135" custLinFactNeighborX="9162" custLinFactNeighborY="-60336">
        <dgm:presLayoutVars>
          <dgm:chPref val="3"/>
        </dgm:presLayoutVars>
      </dgm:prSet>
      <dgm:spPr>
        <a:prstGeom prst="rect">
          <a:avLst/>
        </a:prstGeom>
      </dgm:spPr>
      <dgm:t>
        <a:bodyPr/>
        <a:lstStyle/>
        <a:p>
          <a:endParaRPr lang="en-GB"/>
        </a:p>
      </dgm:t>
    </dgm:pt>
    <dgm:pt modelId="{9F604B41-DE7E-407E-92F7-E7B8863509DE}" type="pres">
      <dgm:prSet presAssocID="{9A7E722F-D005-476C-8D43-4076AB9F30B1}" presName="rootConnector" presStyleLbl="node3" presStyleIdx="0" presStyleCnt="26"/>
      <dgm:spPr/>
      <dgm:t>
        <a:bodyPr/>
        <a:lstStyle/>
        <a:p>
          <a:endParaRPr lang="en-GB"/>
        </a:p>
      </dgm:t>
    </dgm:pt>
    <dgm:pt modelId="{6B1B8A2D-6C96-402C-A168-3E6AD553B535}" type="pres">
      <dgm:prSet presAssocID="{9A7E722F-D005-476C-8D43-4076AB9F30B1}" presName="hierChild4" presStyleCnt="0"/>
      <dgm:spPr/>
    </dgm:pt>
    <dgm:pt modelId="{70FA8FA6-36C6-4FE0-B3C4-A8596AFC4EDF}" type="pres">
      <dgm:prSet presAssocID="{9A7E722F-D005-476C-8D43-4076AB9F30B1}" presName="hierChild5" presStyleCnt="0"/>
      <dgm:spPr/>
    </dgm:pt>
    <dgm:pt modelId="{7AA3C3BF-7366-4C82-8833-2DCCDBBFBA6C}" type="pres">
      <dgm:prSet presAssocID="{A4FDCB02-4C5E-4D69-833B-37E08536214A}" presName="Name50" presStyleLbl="parChTrans1D3" presStyleIdx="1" presStyleCnt="26"/>
      <dgm:spPr>
        <a:custGeom>
          <a:avLst/>
          <a:gdLst/>
          <a:ahLst/>
          <a:cxnLst/>
          <a:rect l="0" t="0" r="0" b="0"/>
          <a:pathLst>
            <a:path>
              <a:moveTo>
                <a:pt x="76437" y="0"/>
              </a:moveTo>
              <a:lnTo>
                <a:pt x="76437" y="797853"/>
              </a:lnTo>
              <a:lnTo>
                <a:pt x="45720" y="797853"/>
              </a:lnTo>
            </a:path>
          </a:pathLst>
        </a:custGeom>
      </dgm:spPr>
      <dgm:t>
        <a:bodyPr/>
        <a:lstStyle/>
        <a:p>
          <a:endParaRPr lang="en-GB"/>
        </a:p>
      </dgm:t>
    </dgm:pt>
    <dgm:pt modelId="{4DB7F4F7-B590-4810-AFCD-926FDA6D38D2}" type="pres">
      <dgm:prSet presAssocID="{A8A7589E-3DC7-45D1-8F72-BB5B052E3F69}" presName="hierRoot2" presStyleCnt="0">
        <dgm:presLayoutVars>
          <dgm:hierBranch val="init"/>
        </dgm:presLayoutVars>
      </dgm:prSet>
      <dgm:spPr/>
    </dgm:pt>
    <dgm:pt modelId="{F997AD31-44BF-407F-82C8-B18CE0D7FD2C}" type="pres">
      <dgm:prSet presAssocID="{A8A7589E-3DC7-45D1-8F72-BB5B052E3F69}" presName="rootComposite" presStyleCnt="0"/>
      <dgm:spPr/>
    </dgm:pt>
    <dgm:pt modelId="{CF73B623-D36E-4A4E-8B66-62BC3E50EC0C}" type="pres">
      <dgm:prSet presAssocID="{A8A7589E-3DC7-45D1-8F72-BB5B052E3F69}" presName="rootText" presStyleLbl="node3" presStyleIdx="1" presStyleCnt="26" custScaleX="206135" custLinFactNeighborX="9162" custLinFactNeighborY="-86839">
        <dgm:presLayoutVars>
          <dgm:chPref val="3"/>
        </dgm:presLayoutVars>
      </dgm:prSet>
      <dgm:spPr>
        <a:prstGeom prst="rect">
          <a:avLst/>
        </a:prstGeom>
      </dgm:spPr>
      <dgm:t>
        <a:bodyPr/>
        <a:lstStyle/>
        <a:p>
          <a:endParaRPr lang="en-GB"/>
        </a:p>
      </dgm:t>
    </dgm:pt>
    <dgm:pt modelId="{8796C872-A8EA-4958-8B94-1C7ED8D2C1E3}" type="pres">
      <dgm:prSet presAssocID="{A8A7589E-3DC7-45D1-8F72-BB5B052E3F69}" presName="rootConnector" presStyleLbl="node3" presStyleIdx="1" presStyleCnt="26"/>
      <dgm:spPr/>
      <dgm:t>
        <a:bodyPr/>
        <a:lstStyle/>
        <a:p>
          <a:endParaRPr lang="en-GB"/>
        </a:p>
      </dgm:t>
    </dgm:pt>
    <dgm:pt modelId="{8247ED97-294F-4CED-A2D7-172130BF8306}" type="pres">
      <dgm:prSet presAssocID="{A8A7589E-3DC7-45D1-8F72-BB5B052E3F69}" presName="hierChild4" presStyleCnt="0"/>
      <dgm:spPr/>
    </dgm:pt>
    <dgm:pt modelId="{BD0FFB1E-CC85-40D5-9579-426945FCD951}" type="pres">
      <dgm:prSet presAssocID="{A8A7589E-3DC7-45D1-8F72-BB5B052E3F69}" presName="hierChild5" presStyleCnt="0"/>
      <dgm:spPr/>
    </dgm:pt>
    <dgm:pt modelId="{64E373CE-42B0-47C0-B6D5-3083549CC155}" type="pres">
      <dgm:prSet presAssocID="{2536716E-9789-487C-BB4D-6AEC03913F78}" presName="Name50" presStyleLbl="parChTrans1D3" presStyleIdx="2" presStyleCnt="26"/>
      <dgm:spPr>
        <a:custGeom>
          <a:avLst/>
          <a:gdLst/>
          <a:ahLst/>
          <a:cxnLst/>
          <a:rect l="0" t="0" r="0" b="0"/>
          <a:pathLst>
            <a:path>
              <a:moveTo>
                <a:pt x="76437" y="0"/>
              </a:moveTo>
              <a:lnTo>
                <a:pt x="76437" y="1319991"/>
              </a:lnTo>
              <a:lnTo>
                <a:pt x="45720" y="1319991"/>
              </a:lnTo>
            </a:path>
          </a:pathLst>
        </a:custGeom>
      </dgm:spPr>
      <dgm:t>
        <a:bodyPr/>
        <a:lstStyle/>
        <a:p>
          <a:endParaRPr lang="en-GB"/>
        </a:p>
      </dgm:t>
    </dgm:pt>
    <dgm:pt modelId="{B2DE522B-C279-4F9A-8567-5E139FFF9E79}" type="pres">
      <dgm:prSet presAssocID="{8AFF9318-8DC2-4264-8170-0C61AAFD79FE}" presName="hierRoot2" presStyleCnt="0">
        <dgm:presLayoutVars>
          <dgm:hierBranch val="init"/>
        </dgm:presLayoutVars>
      </dgm:prSet>
      <dgm:spPr/>
    </dgm:pt>
    <dgm:pt modelId="{D9C66C32-12B4-4491-ABA3-34335757DC65}" type="pres">
      <dgm:prSet presAssocID="{8AFF9318-8DC2-4264-8170-0C61AAFD79FE}" presName="rootComposite" presStyleCnt="0"/>
      <dgm:spPr/>
    </dgm:pt>
    <dgm:pt modelId="{C91CBDDB-C61F-488B-86C6-4EEFDF3ED038}" type="pres">
      <dgm:prSet presAssocID="{8AFF9318-8DC2-4264-8170-0C61AAFD79FE}" presName="rootText" presStyleLbl="node3" presStyleIdx="2" presStyleCnt="26" custScaleX="206135" custLinFactY="-12992" custLinFactNeighborX="9162" custLinFactNeighborY="-100000">
        <dgm:presLayoutVars>
          <dgm:chPref val="3"/>
        </dgm:presLayoutVars>
      </dgm:prSet>
      <dgm:spPr>
        <a:prstGeom prst="rect">
          <a:avLst/>
        </a:prstGeom>
      </dgm:spPr>
      <dgm:t>
        <a:bodyPr/>
        <a:lstStyle/>
        <a:p>
          <a:endParaRPr lang="en-GB"/>
        </a:p>
      </dgm:t>
    </dgm:pt>
    <dgm:pt modelId="{525B76B5-0D3D-477C-878E-708A48609BDE}" type="pres">
      <dgm:prSet presAssocID="{8AFF9318-8DC2-4264-8170-0C61AAFD79FE}" presName="rootConnector" presStyleLbl="node3" presStyleIdx="2" presStyleCnt="26"/>
      <dgm:spPr/>
      <dgm:t>
        <a:bodyPr/>
        <a:lstStyle/>
        <a:p>
          <a:endParaRPr lang="en-GB"/>
        </a:p>
      </dgm:t>
    </dgm:pt>
    <dgm:pt modelId="{1D24CB5B-0B33-42B2-BE9D-B19A07219F23}" type="pres">
      <dgm:prSet presAssocID="{8AFF9318-8DC2-4264-8170-0C61AAFD79FE}" presName="hierChild4" presStyleCnt="0"/>
      <dgm:spPr/>
    </dgm:pt>
    <dgm:pt modelId="{DA442CD6-0426-4B98-A495-C55DA5A51AA4}" type="pres">
      <dgm:prSet presAssocID="{8AFF9318-8DC2-4264-8170-0C61AAFD79FE}" presName="hierChild5" presStyleCnt="0"/>
      <dgm:spPr/>
    </dgm:pt>
    <dgm:pt modelId="{074B3E2F-8466-4A4D-AA59-72F2C06F9895}" type="pres">
      <dgm:prSet presAssocID="{A8EDCBF5-48EE-49F5-8B6F-59FB4A586749}" presName="Name50" presStyleLbl="parChTrans1D3" presStyleIdx="3" presStyleCnt="26"/>
      <dgm:spPr>
        <a:custGeom>
          <a:avLst/>
          <a:gdLst/>
          <a:ahLst/>
          <a:cxnLst/>
          <a:rect l="0" t="0" r="0" b="0"/>
          <a:pathLst>
            <a:path>
              <a:moveTo>
                <a:pt x="76437" y="0"/>
              </a:moveTo>
              <a:lnTo>
                <a:pt x="76437" y="1842125"/>
              </a:lnTo>
              <a:lnTo>
                <a:pt x="45720" y="1842125"/>
              </a:lnTo>
            </a:path>
          </a:pathLst>
        </a:custGeom>
      </dgm:spPr>
      <dgm:t>
        <a:bodyPr/>
        <a:lstStyle/>
        <a:p>
          <a:endParaRPr lang="en-GB"/>
        </a:p>
      </dgm:t>
    </dgm:pt>
    <dgm:pt modelId="{DF2F653D-344D-4FB8-9BFE-4632037A3E7B}" type="pres">
      <dgm:prSet presAssocID="{1ABE179A-0583-4343-B229-7613337F1F01}" presName="hierRoot2" presStyleCnt="0">
        <dgm:presLayoutVars>
          <dgm:hierBranch val="init"/>
        </dgm:presLayoutVars>
      </dgm:prSet>
      <dgm:spPr/>
    </dgm:pt>
    <dgm:pt modelId="{3B7E9630-24E8-4128-BFD5-188170612569}" type="pres">
      <dgm:prSet presAssocID="{1ABE179A-0583-4343-B229-7613337F1F01}" presName="rootComposite" presStyleCnt="0"/>
      <dgm:spPr/>
    </dgm:pt>
    <dgm:pt modelId="{4F5D1301-39C3-4858-B8EF-E38A066270C0}" type="pres">
      <dgm:prSet presAssocID="{1ABE179A-0583-4343-B229-7613337F1F01}" presName="rootText" presStyleLbl="node3" presStyleIdx="3" presStyleCnt="26" custScaleX="206135" custLinFactY="-39146" custLinFactNeighborX="9162" custLinFactNeighborY="-100000">
        <dgm:presLayoutVars>
          <dgm:chPref val="3"/>
        </dgm:presLayoutVars>
      </dgm:prSet>
      <dgm:spPr>
        <a:prstGeom prst="rect">
          <a:avLst/>
        </a:prstGeom>
      </dgm:spPr>
      <dgm:t>
        <a:bodyPr/>
        <a:lstStyle/>
        <a:p>
          <a:endParaRPr lang="en-GB"/>
        </a:p>
      </dgm:t>
    </dgm:pt>
    <dgm:pt modelId="{12C49A15-D18B-47B3-9CA0-B40898F9CD50}" type="pres">
      <dgm:prSet presAssocID="{1ABE179A-0583-4343-B229-7613337F1F01}" presName="rootConnector" presStyleLbl="node3" presStyleIdx="3" presStyleCnt="26"/>
      <dgm:spPr/>
      <dgm:t>
        <a:bodyPr/>
        <a:lstStyle/>
        <a:p>
          <a:endParaRPr lang="en-GB"/>
        </a:p>
      </dgm:t>
    </dgm:pt>
    <dgm:pt modelId="{9C37565E-D11F-45BD-B816-20381F060AB1}" type="pres">
      <dgm:prSet presAssocID="{1ABE179A-0583-4343-B229-7613337F1F01}" presName="hierChild4" presStyleCnt="0"/>
      <dgm:spPr/>
    </dgm:pt>
    <dgm:pt modelId="{9C5018E2-8307-4E3E-9044-45319D51FA9F}" type="pres">
      <dgm:prSet presAssocID="{1ABE179A-0583-4343-B229-7613337F1F01}" presName="hierChild5" presStyleCnt="0"/>
      <dgm:spPr/>
    </dgm:pt>
    <dgm:pt modelId="{38F6A058-7E48-4D72-99DA-87A83BD6629F}" type="pres">
      <dgm:prSet presAssocID="{74CFB57A-27E6-492C-AA1E-444AA012A6C4}" presName="Name50" presStyleLbl="parChTrans1D3" presStyleIdx="4" presStyleCnt="26"/>
      <dgm:spPr>
        <a:custGeom>
          <a:avLst/>
          <a:gdLst/>
          <a:ahLst/>
          <a:cxnLst/>
          <a:rect l="0" t="0" r="0" b="0"/>
          <a:pathLst>
            <a:path>
              <a:moveTo>
                <a:pt x="76437" y="0"/>
              </a:moveTo>
              <a:lnTo>
                <a:pt x="76437" y="2515417"/>
              </a:lnTo>
              <a:lnTo>
                <a:pt x="45720" y="2515417"/>
              </a:lnTo>
            </a:path>
          </a:pathLst>
        </a:custGeom>
      </dgm:spPr>
      <dgm:t>
        <a:bodyPr/>
        <a:lstStyle/>
        <a:p>
          <a:endParaRPr lang="en-GB"/>
        </a:p>
      </dgm:t>
    </dgm:pt>
    <dgm:pt modelId="{D552FDEE-5469-4891-8FDB-8AD5896678B3}" type="pres">
      <dgm:prSet presAssocID="{B3CDC9F2-1FA6-4E0F-8439-B8268D9B8069}" presName="hierRoot2" presStyleCnt="0">
        <dgm:presLayoutVars>
          <dgm:hierBranch val="init"/>
        </dgm:presLayoutVars>
      </dgm:prSet>
      <dgm:spPr/>
    </dgm:pt>
    <dgm:pt modelId="{EF6AA7E8-3D3B-43C8-89E5-4F4F5DFCF6B9}" type="pres">
      <dgm:prSet presAssocID="{B3CDC9F2-1FA6-4E0F-8439-B8268D9B8069}" presName="rootComposite" presStyleCnt="0"/>
      <dgm:spPr/>
    </dgm:pt>
    <dgm:pt modelId="{F2BD23BC-2E0A-441B-BE28-E14725F51793}" type="pres">
      <dgm:prSet presAssocID="{B3CDC9F2-1FA6-4E0F-8439-B8268D9B8069}" presName="rootText" presStyleLbl="node3" presStyleIdx="4" presStyleCnt="26" custScaleX="206135" custScaleY="133975" custLinFactY="-48750" custLinFactNeighborX="9162" custLinFactNeighborY="-100000">
        <dgm:presLayoutVars>
          <dgm:chPref val="3"/>
        </dgm:presLayoutVars>
      </dgm:prSet>
      <dgm:spPr>
        <a:prstGeom prst="rect">
          <a:avLst/>
        </a:prstGeom>
      </dgm:spPr>
      <dgm:t>
        <a:bodyPr/>
        <a:lstStyle/>
        <a:p>
          <a:endParaRPr lang="en-GB"/>
        </a:p>
      </dgm:t>
    </dgm:pt>
    <dgm:pt modelId="{96311BE1-6806-4936-A91A-7E842B15BE23}" type="pres">
      <dgm:prSet presAssocID="{B3CDC9F2-1FA6-4E0F-8439-B8268D9B8069}" presName="rootConnector" presStyleLbl="node3" presStyleIdx="4" presStyleCnt="26"/>
      <dgm:spPr/>
      <dgm:t>
        <a:bodyPr/>
        <a:lstStyle/>
        <a:p>
          <a:endParaRPr lang="en-GB"/>
        </a:p>
      </dgm:t>
    </dgm:pt>
    <dgm:pt modelId="{EFD1A3F8-F679-4BFE-A96D-BBA1B8F7E28E}" type="pres">
      <dgm:prSet presAssocID="{B3CDC9F2-1FA6-4E0F-8439-B8268D9B8069}" presName="hierChild4" presStyleCnt="0"/>
      <dgm:spPr/>
    </dgm:pt>
    <dgm:pt modelId="{E1434C1B-93F4-4F85-BF3F-2674BA9F6695}" type="pres">
      <dgm:prSet presAssocID="{B3CDC9F2-1FA6-4E0F-8439-B8268D9B8069}" presName="hierChild5" presStyleCnt="0"/>
      <dgm:spPr/>
    </dgm:pt>
    <dgm:pt modelId="{BDA0D309-749C-449A-8DB4-EAF8CCA3E67D}" type="pres">
      <dgm:prSet presAssocID="{85EB6D14-3548-49D4-9B2D-95B6FE3E896E}" presName="Name50" presStyleLbl="parChTrans1D3" presStyleIdx="5" presStyleCnt="26"/>
      <dgm:spPr>
        <a:custGeom>
          <a:avLst/>
          <a:gdLst/>
          <a:ahLst/>
          <a:cxnLst/>
          <a:rect l="0" t="0" r="0" b="0"/>
          <a:pathLst>
            <a:path>
              <a:moveTo>
                <a:pt x="76437" y="0"/>
              </a:moveTo>
              <a:lnTo>
                <a:pt x="76437" y="3279485"/>
              </a:lnTo>
              <a:lnTo>
                <a:pt x="45720" y="3279485"/>
              </a:lnTo>
            </a:path>
          </a:pathLst>
        </a:custGeom>
      </dgm:spPr>
      <dgm:t>
        <a:bodyPr/>
        <a:lstStyle/>
        <a:p>
          <a:endParaRPr lang="en-GB"/>
        </a:p>
      </dgm:t>
    </dgm:pt>
    <dgm:pt modelId="{887C9540-28D2-46DA-9258-D87AD3C70C71}" type="pres">
      <dgm:prSet presAssocID="{55C81A84-977C-474F-9898-E3299C72446E}" presName="hierRoot2" presStyleCnt="0">
        <dgm:presLayoutVars>
          <dgm:hierBranch val="init"/>
        </dgm:presLayoutVars>
      </dgm:prSet>
      <dgm:spPr/>
    </dgm:pt>
    <dgm:pt modelId="{DB86626F-20CE-47FA-8B7A-1062024CD376}" type="pres">
      <dgm:prSet presAssocID="{55C81A84-977C-474F-9898-E3299C72446E}" presName="rootComposite" presStyleCnt="0"/>
      <dgm:spPr/>
    </dgm:pt>
    <dgm:pt modelId="{B0363488-F9A3-4DD4-BCDF-D8D2C1C53362}" type="pres">
      <dgm:prSet presAssocID="{55C81A84-977C-474F-9898-E3299C72446E}" presName="rootText" presStyleLbl="node3" presStyleIdx="5" presStyleCnt="26" custScaleX="206135" custScaleY="173379" custLinFactY="-74903" custLinFactNeighborX="9162" custLinFactNeighborY="-100000">
        <dgm:presLayoutVars>
          <dgm:chPref val="3"/>
        </dgm:presLayoutVars>
      </dgm:prSet>
      <dgm:spPr>
        <a:prstGeom prst="rect">
          <a:avLst/>
        </a:prstGeom>
      </dgm:spPr>
      <dgm:t>
        <a:bodyPr/>
        <a:lstStyle/>
        <a:p>
          <a:endParaRPr lang="en-GB"/>
        </a:p>
      </dgm:t>
    </dgm:pt>
    <dgm:pt modelId="{C5765A06-B728-4F1F-BEA5-C8B842B28AB3}" type="pres">
      <dgm:prSet presAssocID="{55C81A84-977C-474F-9898-E3299C72446E}" presName="rootConnector" presStyleLbl="node3" presStyleIdx="5" presStyleCnt="26"/>
      <dgm:spPr/>
      <dgm:t>
        <a:bodyPr/>
        <a:lstStyle/>
        <a:p>
          <a:endParaRPr lang="en-GB"/>
        </a:p>
      </dgm:t>
    </dgm:pt>
    <dgm:pt modelId="{B419F9A7-6256-4C2F-878E-B82AE2CBC9A9}" type="pres">
      <dgm:prSet presAssocID="{55C81A84-977C-474F-9898-E3299C72446E}" presName="hierChild4" presStyleCnt="0"/>
      <dgm:spPr/>
    </dgm:pt>
    <dgm:pt modelId="{141235EF-2547-4156-9A49-E8377A75F5CA}" type="pres">
      <dgm:prSet presAssocID="{55C81A84-977C-474F-9898-E3299C72446E}" presName="hierChild5" presStyleCnt="0"/>
      <dgm:spPr/>
    </dgm:pt>
    <dgm:pt modelId="{110B8CA0-C5B1-4088-832E-968B3904855E}" type="pres">
      <dgm:prSet presAssocID="{27C0C58C-3A95-4427-952F-34ADD3E4CA9C}" presName="hierChild5" presStyleCnt="0"/>
      <dgm:spPr/>
    </dgm:pt>
    <dgm:pt modelId="{A158FBDA-FE80-481D-A683-1087A6297DF7}" type="pres">
      <dgm:prSet presAssocID="{5BCFE927-CDC4-4421-909F-E280F719A3A5}" presName="Name37" presStyleLbl="parChTrans1D2" presStyleIdx="1" presStyleCnt="5"/>
      <dgm:spPr>
        <a:custGeom>
          <a:avLst/>
          <a:gdLst/>
          <a:ahLst/>
          <a:cxnLst/>
          <a:rect l="0" t="0" r="0" b="0"/>
          <a:pathLst>
            <a:path>
              <a:moveTo>
                <a:pt x="1695035" y="45720"/>
              </a:moveTo>
              <a:lnTo>
                <a:pt x="0" y="45720"/>
              </a:lnTo>
              <a:lnTo>
                <a:pt x="0" y="110345"/>
              </a:lnTo>
            </a:path>
          </a:pathLst>
        </a:custGeom>
      </dgm:spPr>
      <dgm:t>
        <a:bodyPr/>
        <a:lstStyle/>
        <a:p>
          <a:endParaRPr lang="en-GB"/>
        </a:p>
      </dgm:t>
    </dgm:pt>
    <dgm:pt modelId="{7B7F4A61-44AD-4660-A004-E01D74CB3993}" type="pres">
      <dgm:prSet presAssocID="{83E65023-33D0-46DA-A1B3-7F0C7C8C046D}" presName="hierRoot2" presStyleCnt="0">
        <dgm:presLayoutVars>
          <dgm:hierBranch val="l"/>
        </dgm:presLayoutVars>
      </dgm:prSet>
      <dgm:spPr/>
    </dgm:pt>
    <dgm:pt modelId="{C1C1659C-40C8-4D06-88CD-8B4E382A7FA3}" type="pres">
      <dgm:prSet presAssocID="{83E65023-33D0-46DA-A1B3-7F0C7C8C046D}" presName="rootComposite" presStyleCnt="0"/>
      <dgm:spPr/>
    </dgm:pt>
    <dgm:pt modelId="{7D987F92-7D35-4143-98F0-7F550C1854D0}" type="pres">
      <dgm:prSet presAssocID="{83E65023-33D0-46DA-A1B3-7F0C7C8C046D}" presName="rootText" presStyleLbl="node2" presStyleIdx="1" presStyleCnt="5" custScaleX="243614" custScaleY="114736" custLinFactNeighborX="-9853" custLinFactNeighborY="-30086">
        <dgm:presLayoutVars>
          <dgm:chPref val="3"/>
        </dgm:presLayoutVars>
      </dgm:prSet>
      <dgm:spPr>
        <a:prstGeom prst="rect">
          <a:avLst/>
        </a:prstGeom>
      </dgm:spPr>
      <dgm:t>
        <a:bodyPr/>
        <a:lstStyle/>
        <a:p>
          <a:endParaRPr lang="en-GB"/>
        </a:p>
      </dgm:t>
    </dgm:pt>
    <dgm:pt modelId="{00704EBE-B448-41C3-9648-6FB2DE06439D}" type="pres">
      <dgm:prSet presAssocID="{83E65023-33D0-46DA-A1B3-7F0C7C8C046D}" presName="rootConnector" presStyleLbl="node2" presStyleIdx="1" presStyleCnt="5"/>
      <dgm:spPr/>
      <dgm:t>
        <a:bodyPr/>
        <a:lstStyle/>
        <a:p>
          <a:endParaRPr lang="en-GB"/>
        </a:p>
      </dgm:t>
    </dgm:pt>
    <dgm:pt modelId="{7EE343C9-968E-4784-8601-4A7959215DD1}" type="pres">
      <dgm:prSet presAssocID="{83E65023-33D0-46DA-A1B3-7F0C7C8C046D}" presName="hierChild4" presStyleCnt="0"/>
      <dgm:spPr/>
    </dgm:pt>
    <dgm:pt modelId="{3B68F40B-CA34-4933-9B66-DF0F8E5E033E}" type="pres">
      <dgm:prSet presAssocID="{58994A76-1B27-43DF-B02F-100B15B3B104}" presName="Name50" presStyleLbl="parChTrans1D3" presStyleIdx="6" presStyleCnt="26"/>
      <dgm:spPr>
        <a:custGeom>
          <a:avLst/>
          <a:gdLst/>
          <a:ahLst/>
          <a:cxnLst/>
          <a:rect l="0" t="0" r="0" b="0"/>
          <a:pathLst>
            <a:path>
              <a:moveTo>
                <a:pt x="45720" y="0"/>
              </a:moveTo>
              <a:lnTo>
                <a:pt x="89889" y="278315"/>
              </a:lnTo>
            </a:path>
          </a:pathLst>
        </a:custGeom>
      </dgm:spPr>
      <dgm:t>
        <a:bodyPr/>
        <a:lstStyle/>
        <a:p>
          <a:endParaRPr lang="en-GB"/>
        </a:p>
      </dgm:t>
    </dgm:pt>
    <dgm:pt modelId="{F7CE9413-E7B2-4296-AD69-7C35B0B15EF1}" type="pres">
      <dgm:prSet presAssocID="{4D9ED46B-69D1-47A5-8587-425F875E60C9}" presName="hierRoot2" presStyleCnt="0">
        <dgm:presLayoutVars>
          <dgm:hierBranch val="init"/>
        </dgm:presLayoutVars>
      </dgm:prSet>
      <dgm:spPr/>
    </dgm:pt>
    <dgm:pt modelId="{F201A93C-E34C-4B21-9EB3-E70F0FDE64EC}" type="pres">
      <dgm:prSet presAssocID="{4D9ED46B-69D1-47A5-8587-425F875E60C9}" presName="rootComposite" presStyleCnt="0"/>
      <dgm:spPr/>
    </dgm:pt>
    <dgm:pt modelId="{7DE978DE-FDD4-4585-A148-67512926481F}" type="pres">
      <dgm:prSet presAssocID="{4D9ED46B-69D1-47A5-8587-425F875E60C9}" presName="rootText" presStyleLbl="node3" presStyleIdx="6" presStyleCnt="26" custScaleX="216984" custLinFactNeighborX="31589" custLinFactNeighborY="-60336">
        <dgm:presLayoutVars>
          <dgm:chPref val="3"/>
        </dgm:presLayoutVars>
      </dgm:prSet>
      <dgm:spPr>
        <a:prstGeom prst="rect">
          <a:avLst/>
        </a:prstGeom>
      </dgm:spPr>
      <dgm:t>
        <a:bodyPr/>
        <a:lstStyle/>
        <a:p>
          <a:endParaRPr lang="en-GB"/>
        </a:p>
      </dgm:t>
    </dgm:pt>
    <dgm:pt modelId="{F65783CD-FCF3-4364-BDAE-C6B8F35DE4E5}" type="pres">
      <dgm:prSet presAssocID="{4D9ED46B-69D1-47A5-8587-425F875E60C9}" presName="rootConnector" presStyleLbl="node3" presStyleIdx="6" presStyleCnt="26"/>
      <dgm:spPr/>
      <dgm:t>
        <a:bodyPr/>
        <a:lstStyle/>
        <a:p>
          <a:endParaRPr lang="en-GB"/>
        </a:p>
      </dgm:t>
    </dgm:pt>
    <dgm:pt modelId="{19E12958-8C47-47DF-9D4B-00202CA3AC00}" type="pres">
      <dgm:prSet presAssocID="{4D9ED46B-69D1-47A5-8587-425F875E60C9}" presName="hierChild4" presStyleCnt="0"/>
      <dgm:spPr/>
    </dgm:pt>
    <dgm:pt modelId="{2FB37C22-08BF-421C-BB25-91D5B4FB4B03}" type="pres">
      <dgm:prSet presAssocID="{4D9ED46B-69D1-47A5-8587-425F875E60C9}" presName="hierChild5" presStyleCnt="0"/>
      <dgm:spPr/>
    </dgm:pt>
    <dgm:pt modelId="{8126E7ED-1EFB-4DC7-B93C-A509EDCFECC6}" type="pres">
      <dgm:prSet presAssocID="{1AEE5C21-8809-4BD3-BF4B-96F643A6442C}" presName="Name50" presStyleLbl="parChTrans1D3" presStyleIdx="7" presStyleCnt="26"/>
      <dgm:spPr>
        <a:custGeom>
          <a:avLst/>
          <a:gdLst/>
          <a:ahLst/>
          <a:cxnLst/>
          <a:rect l="0" t="0" r="0" b="0"/>
          <a:pathLst>
            <a:path>
              <a:moveTo>
                <a:pt x="45720" y="0"/>
              </a:moveTo>
              <a:lnTo>
                <a:pt x="89889" y="776250"/>
              </a:lnTo>
            </a:path>
          </a:pathLst>
        </a:custGeom>
      </dgm:spPr>
      <dgm:t>
        <a:bodyPr/>
        <a:lstStyle/>
        <a:p>
          <a:endParaRPr lang="en-GB"/>
        </a:p>
      </dgm:t>
    </dgm:pt>
    <dgm:pt modelId="{879F3A0E-9DF5-4202-BCBA-30E3FCFD090D}" type="pres">
      <dgm:prSet presAssocID="{232AA91C-A830-4893-AB0C-E0B807EEE6B2}" presName="hierRoot2" presStyleCnt="0">
        <dgm:presLayoutVars>
          <dgm:hierBranch val="init"/>
        </dgm:presLayoutVars>
      </dgm:prSet>
      <dgm:spPr/>
    </dgm:pt>
    <dgm:pt modelId="{C7E92987-2404-49FE-AA7F-AA7B9DEEA283}" type="pres">
      <dgm:prSet presAssocID="{232AA91C-A830-4893-AB0C-E0B807EEE6B2}" presName="rootComposite" presStyleCnt="0"/>
      <dgm:spPr/>
    </dgm:pt>
    <dgm:pt modelId="{95060CD5-E72B-43E3-AE00-28ED9DE85B01}" type="pres">
      <dgm:prSet presAssocID="{232AA91C-A830-4893-AB0C-E0B807EEE6B2}" presName="rootText" presStyleLbl="node3" presStyleIdx="7" presStyleCnt="26" custScaleX="216984" custLinFactNeighborX="31589" custLinFactNeighborY="-91859">
        <dgm:presLayoutVars>
          <dgm:chPref val="3"/>
        </dgm:presLayoutVars>
      </dgm:prSet>
      <dgm:spPr>
        <a:prstGeom prst="rect">
          <a:avLst/>
        </a:prstGeom>
      </dgm:spPr>
      <dgm:t>
        <a:bodyPr/>
        <a:lstStyle/>
        <a:p>
          <a:endParaRPr lang="en-GB"/>
        </a:p>
      </dgm:t>
    </dgm:pt>
    <dgm:pt modelId="{5A19E98F-0F3A-4E09-AB65-E5F1DA066601}" type="pres">
      <dgm:prSet presAssocID="{232AA91C-A830-4893-AB0C-E0B807EEE6B2}" presName="rootConnector" presStyleLbl="node3" presStyleIdx="7" presStyleCnt="26"/>
      <dgm:spPr/>
      <dgm:t>
        <a:bodyPr/>
        <a:lstStyle/>
        <a:p>
          <a:endParaRPr lang="en-GB"/>
        </a:p>
      </dgm:t>
    </dgm:pt>
    <dgm:pt modelId="{17E28009-57BA-4F44-B413-B50AF86DD419}" type="pres">
      <dgm:prSet presAssocID="{232AA91C-A830-4893-AB0C-E0B807EEE6B2}" presName="hierChild4" presStyleCnt="0"/>
      <dgm:spPr/>
    </dgm:pt>
    <dgm:pt modelId="{6D691161-BE38-4537-8B7B-09BD6D376C0F}" type="pres">
      <dgm:prSet presAssocID="{232AA91C-A830-4893-AB0C-E0B807EEE6B2}" presName="hierChild5" presStyleCnt="0"/>
      <dgm:spPr/>
    </dgm:pt>
    <dgm:pt modelId="{D20E2316-F1C9-4B58-809C-37D7B49498A8}" type="pres">
      <dgm:prSet presAssocID="{39A6586C-73CD-4D64-A1FA-DFF0D99B7D4E}" presName="Name50" presStyleLbl="parChTrans1D3" presStyleIdx="8" presStyleCnt="26"/>
      <dgm:spPr>
        <a:custGeom>
          <a:avLst/>
          <a:gdLst/>
          <a:ahLst/>
          <a:cxnLst/>
          <a:rect l="0" t="0" r="0" b="0"/>
          <a:pathLst>
            <a:path>
              <a:moveTo>
                <a:pt x="45720" y="0"/>
              </a:moveTo>
              <a:lnTo>
                <a:pt x="89889" y="1306997"/>
              </a:lnTo>
            </a:path>
          </a:pathLst>
        </a:custGeom>
      </dgm:spPr>
      <dgm:t>
        <a:bodyPr/>
        <a:lstStyle/>
        <a:p>
          <a:endParaRPr lang="en-GB"/>
        </a:p>
      </dgm:t>
    </dgm:pt>
    <dgm:pt modelId="{FC97199B-5D92-4071-9C5C-7DDAEDABF62E}" type="pres">
      <dgm:prSet presAssocID="{70510394-ADAF-4017-9A71-0CDBF70C8053}" presName="hierRoot2" presStyleCnt="0">
        <dgm:presLayoutVars>
          <dgm:hierBranch val="init"/>
        </dgm:presLayoutVars>
      </dgm:prSet>
      <dgm:spPr/>
    </dgm:pt>
    <dgm:pt modelId="{C27AE854-62A4-43C0-B47B-0A4521318F22}" type="pres">
      <dgm:prSet presAssocID="{70510394-ADAF-4017-9A71-0CDBF70C8053}" presName="rootComposite" presStyleCnt="0"/>
      <dgm:spPr/>
    </dgm:pt>
    <dgm:pt modelId="{175ADE88-AD71-4BAF-A40D-557E80A72AF6}" type="pres">
      <dgm:prSet presAssocID="{70510394-ADAF-4017-9A71-0CDBF70C8053}" presName="rootText" presStyleLbl="node3" presStyleIdx="8" presStyleCnt="26" custScaleX="216984" custLinFactY="-16102" custLinFactNeighborX="31589" custLinFactNeighborY="-100000">
        <dgm:presLayoutVars>
          <dgm:chPref val="3"/>
        </dgm:presLayoutVars>
      </dgm:prSet>
      <dgm:spPr>
        <a:prstGeom prst="rect">
          <a:avLst/>
        </a:prstGeom>
      </dgm:spPr>
      <dgm:t>
        <a:bodyPr/>
        <a:lstStyle/>
        <a:p>
          <a:endParaRPr lang="en-GB"/>
        </a:p>
      </dgm:t>
    </dgm:pt>
    <dgm:pt modelId="{1FF9E9F1-4FED-413C-B9FB-C759F942D31F}" type="pres">
      <dgm:prSet presAssocID="{70510394-ADAF-4017-9A71-0CDBF70C8053}" presName="rootConnector" presStyleLbl="node3" presStyleIdx="8" presStyleCnt="26"/>
      <dgm:spPr/>
      <dgm:t>
        <a:bodyPr/>
        <a:lstStyle/>
        <a:p>
          <a:endParaRPr lang="en-GB"/>
        </a:p>
      </dgm:t>
    </dgm:pt>
    <dgm:pt modelId="{DC1C3B73-61A4-43AA-B6BF-592C31ECA3AF}" type="pres">
      <dgm:prSet presAssocID="{70510394-ADAF-4017-9A71-0CDBF70C8053}" presName="hierChild4" presStyleCnt="0"/>
      <dgm:spPr/>
    </dgm:pt>
    <dgm:pt modelId="{2F56F056-C10F-42B0-BF5E-CED793AD7759}" type="pres">
      <dgm:prSet presAssocID="{70510394-ADAF-4017-9A71-0CDBF70C8053}" presName="hierChild5" presStyleCnt="0"/>
      <dgm:spPr/>
    </dgm:pt>
    <dgm:pt modelId="{3C19CDE8-1619-435F-BE8B-2AB153E85879}" type="pres">
      <dgm:prSet presAssocID="{CCCD879D-0878-4276-BBBF-ED7DC058AD7B}" presName="Name50" presStyleLbl="parChTrans1D3" presStyleIdx="9" presStyleCnt="26"/>
      <dgm:spPr>
        <a:custGeom>
          <a:avLst/>
          <a:gdLst/>
          <a:ahLst/>
          <a:cxnLst/>
          <a:rect l="0" t="0" r="0" b="0"/>
          <a:pathLst>
            <a:path>
              <a:moveTo>
                <a:pt x="45720" y="0"/>
              </a:moveTo>
              <a:lnTo>
                <a:pt x="90402" y="1838988"/>
              </a:lnTo>
            </a:path>
          </a:pathLst>
        </a:custGeom>
      </dgm:spPr>
      <dgm:t>
        <a:bodyPr/>
        <a:lstStyle/>
        <a:p>
          <a:endParaRPr lang="en-GB"/>
        </a:p>
      </dgm:t>
    </dgm:pt>
    <dgm:pt modelId="{9360F5D3-E8C2-4C55-9A2E-A0CE2572DDDC}" type="pres">
      <dgm:prSet presAssocID="{DCA969C6-173D-4A46-9BA4-5119AF64DB64}" presName="hierRoot2" presStyleCnt="0">
        <dgm:presLayoutVars>
          <dgm:hierBranch val="init"/>
        </dgm:presLayoutVars>
      </dgm:prSet>
      <dgm:spPr/>
    </dgm:pt>
    <dgm:pt modelId="{607D9AFC-CE42-42A1-9EB1-36930BE02CD5}" type="pres">
      <dgm:prSet presAssocID="{DCA969C6-173D-4A46-9BA4-5119AF64DB64}" presName="rootComposite" presStyleCnt="0"/>
      <dgm:spPr/>
    </dgm:pt>
    <dgm:pt modelId="{356B3328-D764-40AC-8224-7C581170E4AA}" type="pres">
      <dgm:prSet presAssocID="{DCA969C6-173D-4A46-9BA4-5119AF64DB64}" presName="rootText" presStyleLbl="node3" presStyleIdx="9" presStyleCnt="26" custScaleX="216984" custLinFactY="-40069" custLinFactNeighborX="31646" custLinFactNeighborY="-100000">
        <dgm:presLayoutVars>
          <dgm:chPref val="3"/>
        </dgm:presLayoutVars>
      </dgm:prSet>
      <dgm:spPr>
        <a:prstGeom prst="rect">
          <a:avLst/>
        </a:prstGeom>
      </dgm:spPr>
      <dgm:t>
        <a:bodyPr/>
        <a:lstStyle/>
        <a:p>
          <a:endParaRPr lang="en-GB"/>
        </a:p>
      </dgm:t>
    </dgm:pt>
    <dgm:pt modelId="{E93C2A34-A97C-4508-A88F-51D5DA31D8C2}" type="pres">
      <dgm:prSet presAssocID="{DCA969C6-173D-4A46-9BA4-5119AF64DB64}" presName="rootConnector" presStyleLbl="node3" presStyleIdx="9" presStyleCnt="26"/>
      <dgm:spPr/>
      <dgm:t>
        <a:bodyPr/>
        <a:lstStyle/>
        <a:p>
          <a:endParaRPr lang="en-GB"/>
        </a:p>
      </dgm:t>
    </dgm:pt>
    <dgm:pt modelId="{7BA60B2C-7189-41FF-BFB8-C7874E6AC2DB}" type="pres">
      <dgm:prSet presAssocID="{DCA969C6-173D-4A46-9BA4-5119AF64DB64}" presName="hierChild4" presStyleCnt="0"/>
      <dgm:spPr/>
    </dgm:pt>
    <dgm:pt modelId="{27D8EEAD-18A0-4425-A8E3-D7D26180ED33}" type="pres">
      <dgm:prSet presAssocID="{DCA969C6-173D-4A46-9BA4-5119AF64DB64}" presName="hierChild5" presStyleCnt="0"/>
      <dgm:spPr/>
    </dgm:pt>
    <dgm:pt modelId="{BA812832-9151-4475-AEEE-997AAEA180DD}" type="pres">
      <dgm:prSet presAssocID="{60A8C610-33C6-4C13-A76B-645F44A3B723}" presName="Name50" presStyleLbl="parChTrans1D3" presStyleIdx="10" presStyleCnt="26"/>
      <dgm:spPr>
        <a:custGeom>
          <a:avLst/>
          <a:gdLst/>
          <a:ahLst/>
          <a:cxnLst/>
          <a:rect l="0" t="0" r="0" b="0"/>
          <a:pathLst>
            <a:path>
              <a:moveTo>
                <a:pt x="45720" y="0"/>
              </a:moveTo>
              <a:lnTo>
                <a:pt x="90402" y="2366643"/>
              </a:lnTo>
            </a:path>
          </a:pathLst>
        </a:custGeom>
      </dgm:spPr>
      <dgm:t>
        <a:bodyPr/>
        <a:lstStyle/>
        <a:p>
          <a:endParaRPr lang="en-GB"/>
        </a:p>
      </dgm:t>
    </dgm:pt>
    <dgm:pt modelId="{E9DD63BF-38AB-44F1-B73B-18EC62469DAE}" type="pres">
      <dgm:prSet presAssocID="{4CC3869D-EA05-4F15-ABEF-E876B4DF3A97}" presName="hierRoot2" presStyleCnt="0">
        <dgm:presLayoutVars>
          <dgm:hierBranch val="init"/>
        </dgm:presLayoutVars>
      </dgm:prSet>
      <dgm:spPr/>
    </dgm:pt>
    <dgm:pt modelId="{605226FA-7527-47A1-8279-238BCC889804}" type="pres">
      <dgm:prSet presAssocID="{4CC3869D-EA05-4F15-ABEF-E876B4DF3A97}" presName="rootComposite" presStyleCnt="0"/>
      <dgm:spPr/>
    </dgm:pt>
    <dgm:pt modelId="{0E5ADF65-7528-4E6B-A814-7FD4CDCBAEB0}" type="pres">
      <dgm:prSet presAssocID="{4CC3869D-EA05-4F15-ABEF-E876B4DF3A97}" presName="rootText" presStyleLbl="node3" presStyleIdx="10" presStyleCnt="26" custScaleX="216984" custLinFactY="-64998" custLinFactNeighborX="31646" custLinFactNeighborY="-100000">
        <dgm:presLayoutVars>
          <dgm:chPref val="3"/>
        </dgm:presLayoutVars>
      </dgm:prSet>
      <dgm:spPr>
        <a:prstGeom prst="rect">
          <a:avLst/>
        </a:prstGeom>
      </dgm:spPr>
      <dgm:t>
        <a:bodyPr/>
        <a:lstStyle/>
        <a:p>
          <a:endParaRPr lang="en-GB"/>
        </a:p>
      </dgm:t>
    </dgm:pt>
    <dgm:pt modelId="{C08C8186-7CE9-48AE-B41B-D881FD3C4D87}" type="pres">
      <dgm:prSet presAssocID="{4CC3869D-EA05-4F15-ABEF-E876B4DF3A97}" presName="rootConnector" presStyleLbl="node3" presStyleIdx="10" presStyleCnt="26"/>
      <dgm:spPr/>
      <dgm:t>
        <a:bodyPr/>
        <a:lstStyle/>
        <a:p>
          <a:endParaRPr lang="en-GB"/>
        </a:p>
      </dgm:t>
    </dgm:pt>
    <dgm:pt modelId="{E6017F6A-7607-44AA-9473-D5CDBDEDB0C7}" type="pres">
      <dgm:prSet presAssocID="{4CC3869D-EA05-4F15-ABEF-E876B4DF3A97}" presName="hierChild4" presStyleCnt="0"/>
      <dgm:spPr/>
    </dgm:pt>
    <dgm:pt modelId="{306A7944-FDCE-4D0C-AD95-EC9B74B2C481}" type="pres">
      <dgm:prSet presAssocID="{4CC3869D-EA05-4F15-ABEF-E876B4DF3A97}" presName="hierChild5" presStyleCnt="0"/>
      <dgm:spPr/>
    </dgm:pt>
    <dgm:pt modelId="{15BFC48D-BBC2-4AA7-84DF-E08D387E4BEE}" type="pres">
      <dgm:prSet presAssocID="{B9768B53-8850-4D94-B15A-B424BE92EB7A}" presName="Name50" presStyleLbl="parChTrans1D3" presStyleIdx="11" presStyleCnt="26"/>
      <dgm:spPr>
        <a:custGeom>
          <a:avLst/>
          <a:gdLst/>
          <a:ahLst/>
          <a:cxnLst/>
          <a:rect l="0" t="0" r="0" b="0"/>
          <a:pathLst>
            <a:path>
              <a:moveTo>
                <a:pt x="45720" y="0"/>
              </a:moveTo>
              <a:lnTo>
                <a:pt x="90402" y="2894294"/>
              </a:lnTo>
            </a:path>
          </a:pathLst>
        </a:custGeom>
      </dgm:spPr>
      <dgm:t>
        <a:bodyPr/>
        <a:lstStyle/>
        <a:p>
          <a:endParaRPr lang="en-GB"/>
        </a:p>
      </dgm:t>
    </dgm:pt>
    <dgm:pt modelId="{F23DC6A7-5F16-4E38-86B1-CAA6CCFFD663}" type="pres">
      <dgm:prSet presAssocID="{4A273B54-5675-4A36-BC30-269F184B394E}" presName="hierRoot2" presStyleCnt="0">
        <dgm:presLayoutVars>
          <dgm:hierBranch val="init"/>
        </dgm:presLayoutVars>
      </dgm:prSet>
      <dgm:spPr/>
    </dgm:pt>
    <dgm:pt modelId="{C7979B17-2652-45CB-BA3C-E7D7C2DAE869}" type="pres">
      <dgm:prSet presAssocID="{4A273B54-5675-4A36-BC30-269F184B394E}" presName="rootComposite" presStyleCnt="0"/>
      <dgm:spPr/>
    </dgm:pt>
    <dgm:pt modelId="{F0F62E1F-8929-43B7-BB6A-F1C6E74066B2}" type="pres">
      <dgm:prSet presAssocID="{4A273B54-5675-4A36-BC30-269F184B394E}" presName="rootText" presStyleLbl="node3" presStyleIdx="11" presStyleCnt="26" custScaleX="216984" custLinFactY="-89928" custLinFactNeighborX="31646" custLinFactNeighborY="-100000">
        <dgm:presLayoutVars>
          <dgm:chPref val="3"/>
        </dgm:presLayoutVars>
      </dgm:prSet>
      <dgm:spPr>
        <a:prstGeom prst="rect">
          <a:avLst/>
        </a:prstGeom>
      </dgm:spPr>
      <dgm:t>
        <a:bodyPr/>
        <a:lstStyle/>
        <a:p>
          <a:endParaRPr lang="en-GB"/>
        </a:p>
      </dgm:t>
    </dgm:pt>
    <dgm:pt modelId="{B2119018-1591-4A2B-916A-EAC928437B99}" type="pres">
      <dgm:prSet presAssocID="{4A273B54-5675-4A36-BC30-269F184B394E}" presName="rootConnector" presStyleLbl="node3" presStyleIdx="11" presStyleCnt="26"/>
      <dgm:spPr/>
      <dgm:t>
        <a:bodyPr/>
        <a:lstStyle/>
        <a:p>
          <a:endParaRPr lang="en-GB"/>
        </a:p>
      </dgm:t>
    </dgm:pt>
    <dgm:pt modelId="{986859C5-59D9-4CAA-95D8-8C726C6A14CD}" type="pres">
      <dgm:prSet presAssocID="{4A273B54-5675-4A36-BC30-269F184B394E}" presName="hierChild4" presStyleCnt="0"/>
      <dgm:spPr/>
    </dgm:pt>
    <dgm:pt modelId="{70C682E1-4958-4E6D-8D51-7120235B17E3}" type="pres">
      <dgm:prSet presAssocID="{4A273B54-5675-4A36-BC30-269F184B394E}" presName="hierChild5" presStyleCnt="0"/>
      <dgm:spPr/>
    </dgm:pt>
    <dgm:pt modelId="{D0A2B68C-81AE-484B-AA25-5AD1DD9964D7}" type="pres">
      <dgm:prSet presAssocID="{88907CE6-6462-4C5F-8943-6C7E5D76B19C}" presName="Name50" presStyleLbl="parChTrans1D3" presStyleIdx="12" presStyleCnt="26"/>
      <dgm:spPr>
        <a:custGeom>
          <a:avLst/>
          <a:gdLst/>
          <a:ahLst/>
          <a:cxnLst/>
          <a:rect l="0" t="0" r="0" b="0"/>
          <a:pathLst>
            <a:path>
              <a:moveTo>
                <a:pt x="45720" y="0"/>
              </a:moveTo>
              <a:lnTo>
                <a:pt x="126072" y="3417613"/>
              </a:lnTo>
            </a:path>
          </a:pathLst>
        </a:custGeom>
      </dgm:spPr>
      <dgm:t>
        <a:bodyPr/>
        <a:lstStyle/>
        <a:p>
          <a:endParaRPr lang="en-GB"/>
        </a:p>
      </dgm:t>
    </dgm:pt>
    <dgm:pt modelId="{BCDE0529-E1B6-4338-9B92-2E52C2823B7C}" type="pres">
      <dgm:prSet presAssocID="{1E3C57A8-D11A-4464-B252-393BA62CA1A4}" presName="hierRoot2" presStyleCnt="0">
        <dgm:presLayoutVars>
          <dgm:hierBranch val="init"/>
        </dgm:presLayoutVars>
      </dgm:prSet>
      <dgm:spPr/>
    </dgm:pt>
    <dgm:pt modelId="{C54585F7-6C6B-40B1-81E8-9C201F432ACA}" type="pres">
      <dgm:prSet presAssocID="{1E3C57A8-D11A-4464-B252-393BA62CA1A4}" presName="rootComposite" presStyleCnt="0"/>
      <dgm:spPr/>
    </dgm:pt>
    <dgm:pt modelId="{3AE77575-B618-4540-A5D3-713314C05524}" type="pres">
      <dgm:prSet presAssocID="{1E3C57A8-D11A-4464-B252-393BA62CA1A4}" presName="rootText" presStyleLbl="node3" presStyleIdx="12" presStyleCnt="26" custScaleX="216984" custLinFactY="-100000" custLinFactNeighborX="35603" custLinFactNeighborY="-115819">
        <dgm:presLayoutVars>
          <dgm:chPref val="3"/>
        </dgm:presLayoutVars>
      </dgm:prSet>
      <dgm:spPr>
        <a:prstGeom prst="rect">
          <a:avLst/>
        </a:prstGeom>
      </dgm:spPr>
      <dgm:t>
        <a:bodyPr/>
        <a:lstStyle/>
        <a:p>
          <a:endParaRPr lang="en-GB"/>
        </a:p>
      </dgm:t>
    </dgm:pt>
    <dgm:pt modelId="{0A7ECC2D-925A-4A5A-983B-44AA6F0DAF1D}" type="pres">
      <dgm:prSet presAssocID="{1E3C57A8-D11A-4464-B252-393BA62CA1A4}" presName="rootConnector" presStyleLbl="node3" presStyleIdx="12" presStyleCnt="26"/>
      <dgm:spPr/>
      <dgm:t>
        <a:bodyPr/>
        <a:lstStyle/>
        <a:p>
          <a:endParaRPr lang="en-GB"/>
        </a:p>
      </dgm:t>
    </dgm:pt>
    <dgm:pt modelId="{747F2C99-3DF1-4AC3-810F-11A9F9C64CC1}" type="pres">
      <dgm:prSet presAssocID="{1E3C57A8-D11A-4464-B252-393BA62CA1A4}" presName="hierChild4" presStyleCnt="0"/>
      <dgm:spPr/>
    </dgm:pt>
    <dgm:pt modelId="{D8DEE09F-9284-4300-A08E-19A45A7D509D}" type="pres">
      <dgm:prSet presAssocID="{1E3C57A8-D11A-4464-B252-393BA62CA1A4}" presName="hierChild5" presStyleCnt="0"/>
      <dgm:spPr/>
    </dgm:pt>
    <dgm:pt modelId="{2A2C7B99-30D3-4786-A061-FD5978DD9CE9}" type="pres">
      <dgm:prSet presAssocID="{83E65023-33D0-46DA-A1B3-7F0C7C8C046D}" presName="hierChild5" presStyleCnt="0"/>
      <dgm:spPr/>
    </dgm:pt>
    <dgm:pt modelId="{D0B2D542-C665-4A27-AB65-BE2D43E07D73}" type="pres">
      <dgm:prSet presAssocID="{3CFDB6E9-11D5-4EF0-A84F-588AF277B995}" presName="Name37" presStyleLbl="parChTrans1D2" presStyleIdx="2" presStyleCnt="5"/>
      <dgm:spPr>
        <a:custGeom>
          <a:avLst/>
          <a:gdLst/>
          <a:ahLst/>
          <a:cxnLst/>
          <a:rect l="0" t="0" r="0" b="0"/>
          <a:pathLst>
            <a:path>
              <a:moveTo>
                <a:pt x="0" y="45720"/>
              </a:moveTo>
              <a:lnTo>
                <a:pt x="711848" y="45720"/>
              </a:lnTo>
              <a:lnTo>
                <a:pt x="711848" y="110345"/>
              </a:lnTo>
            </a:path>
          </a:pathLst>
        </a:custGeom>
      </dgm:spPr>
      <dgm:t>
        <a:bodyPr/>
        <a:lstStyle/>
        <a:p>
          <a:endParaRPr lang="en-GB"/>
        </a:p>
      </dgm:t>
    </dgm:pt>
    <dgm:pt modelId="{D6D62EFD-97F2-4BA7-AB1A-C8F3824F81AD}" type="pres">
      <dgm:prSet presAssocID="{E9AADBDC-3898-4643-98BB-93A35F6F1C1F}" presName="hierRoot2" presStyleCnt="0">
        <dgm:presLayoutVars>
          <dgm:hierBranch val="init"/>
        </dgm:presLayoutVars>
      </dgm:prSet>
      <dgm:spPr/>
    </dgm:pt>
    <dgm:pt modelId="{A2F2327A-4FFD-42A9-BB8F-40200C5D7625}" type="pres">
      <dgm:prSet presAssocID="{E9AADBDC-3898-4643-98BB-93A35F6F1C1F}" presName="rootComposite" presStyleCnt="0"/>
      <dgm:spPr/>
    </dgm:pt>
    <dgm:pt modelId="{20A39BFD-AC94-4833-AAAF-948F81E52002}" type="pres">
      <dgm:prSet presAssocID="{E9AADBDC-3898-4643-98BB-93A35F6F1C1F}" presName="rootText" presStyleLbl="node2" presStyleIdx="2" presStyleCnt="5" custScaleX="243614" custScaleY="122385" custLinFactNeighborX="-7459" custLinFactNeighborY="-30086">
        <dgm:presLayoutVars>
          <dgm:chPref val="3"/>
        </dgm:presLayoutVars>
      </dgm:prSet>
      <dgm:spPr>
        <a:prstGeom prst="rect">
          <a:avLst/>
        </a:prstGeom>
      </dgm:spPr>
      <dgm:t>
        <a:bodyPr/>
        <a:lstStyle/>
        <a:p>
          <a:endParaRPr lang="en-GB"/>
        </a:p>
      </dgm:t>
    </dgm:pt>
    <dgm:pt modelId="{0A4B7152-A5C0-4304-B702-BC0C52C9EC39}" type="pres">
      <dgm:prSet presAssocID="{E9AADBDC-3898-4643-98BB-93A35F6F1C1F}" presName="rootConnector" presStyleLbl="node2" presStyleIdx="2" presStyleCnt="5"/>
      <dgm:spPr/>
      <dgm:t>
        <a:bodyPr/>
        <a:lstStyle/>
        <a:p>
          <a:endParaRPr lang="en-GB"/>
        </a:p>
      </dgm:t>
    </dgm:pt>
    <dgm:pt modelId="{6923F2DB-CFA1-43DA-B776-2F8B671228D5}" type="pres">
      <dgm:prSet presAssocID="{E9AADBDC-3898-4643-98BB-93A35F6F1C1F}" presName="hierChild4" presStyleCnt="0"/>
      <dgm:spPr/>
    </dgm:pt>
    <dgm:pt modelId="{9233F8A3-3DD8-405A-B709-2177E2199FEB}" type="pres">
      <dgm:prSet presAssocID="{3434C784-D2EB-4907-A577-1424C17A4231}" presName="Name37" presStyleLbl="parChTrans1D3" presStyleIdx="13" presStyleCnt="26"/>
      <dgm:spPr>
        <a:custGeom>
          <a:avLst/>
          <a:gdLst/>
          <a:ahLst/>
          <a:cxnLst/>
          <a:rect l="0" t="0" r="0" b="0"/>
          <a:pathLst>
            <a:path>
              <a:moveTo>
                <a:pt x="126225" y="0"/>
              </a:moveTo>
              <a:lnTo>
                <a:pt x="45720" y="427055"/>
              </a:lnTo>
            </a:path>
          </a:pathLst>
        </a:custGeom>
      </dgm:spPr>
      <dgm:t>
        <a:bodyPr/>
        <a:lstStyle/>
        <a:p>
          <a:endParaRPr lang="en-GB"/>
        </a:p>
      </dgm:t>
    </dgm:pt>
    <dgm:pt modelId="{0B51C77E-E536-48AA-9BF2-E5CB156A28CD}" type="pres">
      <dgm:prSet presAssocID="{25DBDE9B-DA2B-4E29-B989-575DA86021B8}" presName="hierRoot2" presStyleCnt="0">
        <dgm:presLayoutVars>
          <dgm:hierBranch val="init"/>
        </dgm:presLayoutVars>
      </dgm:prSet>
      <dgm:spPr/>
    </dgm:pt>
    <dgm:pt modelId="{AB22C40B-D3AF-4475-9672-4D9A2F57941C}" type="pres">
      <dgm:prSet presAssocID="{25DBDE9B-DA2B-4E29-B989-575DA86021B8}" presName="rootComposite" presStyleCnt="0"/>
      <dgm:spPr/>
    </dgm:pt>
    <dgm:pt modelId="{F0663EE5-7143-42B2-A6AE-F82AA7D88908}" type="pres">
      <dgm:prSet presAssocID="{25DBDE9B-DA2B-4E29-B989-575DA86021B8}" presName="rootText" presStyleLbl="node3" presStyleIdx="13" presStyleCnt="26" custScaleX="224874" custScaleY="149736" custLinFactNeighborX="-52932" custLinFactNeighborY="-52203">
        <dgm:presLayoutVars>
          <dgm:chPref val="3"/>
        </dgm:presLayoutVars>
      </dgm:prSet>
      <dgm:spPr>
        <a:prstGeom prst="rect">
          <a:avLst/>
        </a:prstGeom>
      </dgm:spPr>
      <dgm:t>
        <a:bodyPr/>
        <a:lstStyle/>
        <a:p>
          <a:endParaRPr lang="en-GB"/>
        </a:p>
      </dgm:t>
    </dgm:pt>
    <dgm:pt modelId="{AE4351CA-69DC-4BA0-AB6C-9CE1DF3BD1D6}" type="pres">
      <dgm:prSet presAssocID="{25DBDE9B-DA2B-4E29-B989-575DA86021B8}" presName="rootConnector" presStyleLbl="node3" presStyleIdx="13" presStyleCnt="26"/>
      <dgm:spPr/>
      <dgm:t>
        <a:bodyPr/>
        <a:lstStyle/>
        <a:p>
          <a:endParaRPr lang="en-GB"/>
        </a:p>
      </dgm:t>
    </dgm:pt>
    <dgm:pt modelId="{35179876-1C2A-4A17-9895-CFA1E81D445B}" type="pres">
      <dgm:prSet presAssocID="{25DBDE9B-DA2B-4E29-B989-575DA86021B8}" presName="hierChild4" presStyleCnt="0"/>
      <dgm:spPr/>
    </dgm:pt>
    <dgm:pt modelId="{E3DAD0CB-79FA-4AA7-979E-EFEEE2D28862}" type="pres">
      <dgm:prSet presAssocID="{25DBDE9B-DA2B-4E29-B989-575DA86021B8}" presName="hierChild5" presStyleCnt="0"/>
      <dgm:spPr/>
    </dgm:pt>
    <dgm:pt modelId="{4292BEEF-ED59-4044-B99B-DC4347476C93}" type="pres">
      <dgm:prSet presAssocID="{EB2D0AFA-7107-4A7F-B30A-85794C6D48A5}" presName="Name37" presStyleLbl="parChTrans1D3" presStyleIdx="14" presStyleCnt="26"/>
      <dgm:spPr>
        <a:custGeom>
          <a:avLst/>
          <a:gdLst/>
          <a:ahLst/>
          <a:cxnLst/>
          <a:rect l="0" t="0" r="0" b="0"/>
          <a:pathLst>
            <a:path>
              <a:moveTo>
                <a:pt x="109368" y="0"/>
              </a:moveTo>
              <a:lnTo>
                <a:pt x="45720" y="1192191"/>
              </a:lnTo>
            </a:path>
          </a:pathLst>
        </a:custGeom>
      </dgm:spPr>
      <dgm:t>
        <a:bodyPr/>
        <a:lstStyle/>
        <a:p>
          <a:endParaRPr lang="en-GB"/>
        </a:p>
      </dgm:t>
    </dgm:pt>
    <dgm:pt modelId="{EB1E0698-2238-417E-B4CC-925D422ADFD9}" type="pres">
      <dgm:prSet presAssocID="{36F930DE-36A9-4BBF-B0E6-9FDFEF9E53E4}" presName="hierRoot2" presStyleCnt="0">
        <dgm:presLayoutVars>
          <dgm:hierBranch val="init"/>
        </dgm:presLayoutVars>
      </dgm:prSet>
      <dgm:spPr/>
    </dgm:pt>
    <dgm:pt modelId="{D7895E98-490F-4AA4-8255-363F85B08485}" type="pres">
      <dgm:prSet presAssocID="{36F930DE-36A9-4BBF-B0E6-9FDFEF9E53E4}" presName="rootComposite" presStyleCnt="0"/>
      <dgm:spPr/>
    </dgm:pt>
    <dgm:pt modelId="{679AFEB9-1304-4C46-92B9-D14908334993}" type="pres">
      <dgm:prSet presAssocID="{36F930DE-36A9-4BBF-B0E6-9FDFEF9E53E4}" presName="rootText" presStyleLbl="node3" presStyleIdx="14" presStyleCnt="26" custScaleX="224874" custScaleY="141856" custLinFactNeighborX="-51062" custLinFactNeighborY="-70238">
        <dgm:presLayoutVars>
          <dgm:chPref val="3"/>
        </dgm:presLayoutVars>
      </dgm:prSet>
      <dgm:spPr>
        <a:prstGeom prst="rect">
          <a:avLst/>
        </a:prstGeom>
      </dgm:spPr>
      <dgm:t>
        <a:bodyPr/>
        <a:lstStyle/>
        <a:p>
          <a:endParaRPr lang="en-GB"/>
        </a:p>
      </dgm:t>
    </dgm:pt>
    <dgm:pt modelId="{AD7D63B9-7467-4870-AB99-425C675F3C72}" type="pres">
      <dgm:prSet presAssocID="{36F930DE-36A9-4BBF-B0E6-9FDFEF9E53E4}" presName="rootConnector" presStyleLbl="node3" presStyleIdx="14" presStyleCnt="26"/>
      <dgm:spPr/>
      <dgm:t>
        <a:bodyPr/>
        <a:lstStyle/>
        <a:p>
          <a:endParaRPr lang="en-GB"/>
        </a:p>
      </dgm:t>
    </dgm:pt>
    <dgm:pt modelId="{977126EB-F25D-4C49-B98B-B68E1BD0D4BB}" type="pres">
      <dgm:prSet presAssocID="{36F930DE-36A9-4BBF-B0E6-9FDFEF9E53E4}" presName="hierChild4" presStyleCnt="0"/>
      <dgm:spPr/>
    </dgm:pt>
    <dgm:pt modelId="{B2673B5A-D20B-433C-B67A-77654BAC3B88}" type="pres">
      <dgm:prSet presAssocID="{36F930DE-36A9-4BBF-B0E6-9FDFEF9E53E4}" presName="hierChild5" presStyleCnt="0"/>
      <dgm:spPr/>
    </dgm:pt>
    <dgm:pt modelId="{B023BEAD-FFE1-4FE2-87DF-FBE8E5BE29A9}" type="pres">
      <dgm:prSet presAssocID="{85F876EE-37BA-45E8-8766-D372D6B5A6B4}" presName="Name37" presStyleLbl="parChTrans1D3" presStyleIdx="15" presStyleCnt="26"/>
      <dgm:spPr>
        <a:custGeom>
          <a:avLst/>
          <a:gdLst/>
          <a:ahLst/>
          <a:cxnLst/>
          <a:rect l="0" t="0" r="0" b="0"/>
          <a:pathLst>
            <a:path>
              <a:moveTo>
                <a:pt x="117914" y="0"/>
              </a:moveTo>
              <a:lnTo>
                <a:pt x="45720" y="1903485"/>
              </a:lnTo>
            </a:path>
          </a:pathLst>
        </a:custGeom>
      </dgm:spPr>
      <dgm:t>
        <a:bodyPr/>
        <a:lstStyle/>
        <a:p>
          <a:endParaRPr lang="en-GB"/>
        </a:p>
      </dgm:t>
    </dgm:pt>
    <dgm:pt modelId="{5476372D-2150-433E-B2AE-6BA5A6E9F1A9}" type="pres">
      <dgm:prSet presAssocID="{F29A0D9E-A4D4-4086-BF87-078907F654D3}" presName="hierRoot2" presStyleCnt="0">
        <dgm:presLayoutVars>
          <dgm:hierBranch val="init"/>
        </dgm:presLayoutVars>
      </dgm:prSet>
      <dgm:spPr/>
    </dgm:pt>
    <dgm:pt modelId="{22333E98-19CF-433C-9D01-F001398BCC8F}" type="pres">
      <dgm:prSet presAssocID="{F29A0D9E-A4D4-4086-BF87-078907F654D3}" presName="rootComposite" presStyleCnt="0"/>
      <dgm:spPr/>
    </dgm:pt>
    <dgm:pt modelId="{F47BE956-BC37-4E68-8509-835266EF4509}" type="pres">
      <dgm:prSet presAssocID="{F29A0D9E-A4D4-4086-BF87-078907F654D3}" presName="rootText" presStyleLbl="node3" presStyleIdx="15" presStyleCnt="26" custScaleX="224874" custScaleY="142026" custLinFactNeighborX="-52010" custLinFactNeighborY="-96364">
        <dgm:presLayoutVars>
          <dgm:chPref val="3"/>
        </dgm:presLayoutVars>
      </dgm:prSet>
      <dgm:spPr>
        <a:prstGeom prst="rect">
          <a:avLst/>
        </a:prstGeom>
      </dgm:spPr>
      <dgm:t>
        <a:bodyPr/>
        <a:lstStyle/>
        <a:p>
          <a:endParaRPr lang="en-GB"/>
        </a:p>
      </dgm:t>
    </dgm:pt>
    <dgm:pt modelId="{0061E253-07A5-4060-9D9C-063107019FC0}" type="pres">
      <dgm:prSet presAssocID="{F29A0D9E-A4D4-4086-BF87-078907F654D3}" presName="rootConnector" presStyleLbl="node3" presStyleIdx="15" presStyleCnt="26"/>
      <dgm:spPr/>
      <dgm:t>
        <a:bodyPr/>
        <a:lstStyle/>
        <a:p>
          <a:endParaRPr lang="en-GB"/>
        </a:p>
      </dgm:t>
    </dgm:pt>
    <dgm:pt modelId="{6A6FBDEC-98AE-4464-802A-117EA88E3B82}" type="pres">
      <dgm:prSet presAssocID="{F29A0D9E-A4D4-4086-BF87-078907F654D3}" presName="hierChild4" presStyleCnt="0"/>
      <dgm:spPr/>
    </dgm:pt>
    <dgm:pt modelId="{EAFC9707-615E-4A38-811E-4449FC86631C}" type="pres">
      <dgm:prSet presAssocID="{F29A0D9E-A4D4-4086-BF87-078907F654D3}" presName="hierChild5" presStyleCnt="0"/>
      <dgm:spPr/>
    </dgm:pt>
    <dgm:pt modelId="{909A163B-528C-4467-82CA-CD38902FAE5A}" type="pres">
      <dgm:prSet presAssocID="{E9AADBDC-3898-4643-98BB-93A35F6F1C1F}" presName="hierChild5" presStyleCnt="0"/>
      <dgm:spPr/>
    </dgm:pt>
    <dgm:pt modelId="{D08577E6-9F61-4368-8C6C-6BFE825C8CCF}" type="pres">
      <dgm:prSet presAssocID="{205FFF2B-3A41-4A88-A3BE-31B22C2574A7}" presName="Name37" presStyleLbl="parChTrans1D2" presStyleIdx="3" presStyleCnt="5"/>
      <dgm:spPr>
        <a:custGeom>
          <a:avLst/>
          <a:gdLst/>
          <a:ahLst/>
          <a:cxnLst/>
          <a:rect l="0" t="0" r="0" b="0"/>
          <a:pathLst>
            <a:path>
              <a:moveTo>
                <a:pt x="0" y="45720"/>
              </a:moveTo>
              <a:lnTo>
                <a:pt x="3206332" y="45720"/>
              </a:lnTo>
              <a:lnTo>
                <a:pt x="3206332" y="111368"/>
              </a:lnTo>
            </a:path>
          </a:pathLst>
        </a:custGeom>
      </dgm:spPr>
      <dgm:t>
        <a:bodyPr/>
        <a:lstStyle/>
        <a:p>
          <a:endParaRPr lang="en-GB"/>
        </a:p>
      </dgm:t>
    </dgm:pt>
    <dgm:pt modelId="{83DAE4F7-D3DA-498F-A827-D7EA16288892}" type="pres">
      <dgm:prSet presAssocID="{B8408C07-B965-420B-AA4F-EF7BF3626137}" presName="hierRoot2" presStyleCnt="0">
        <dgm:presLayoutVars>
          <dgm:hierBranch val="init"/>
        </dgm:presLayoutVars>
      </dgm:prSet>
      <dgm:spPr/>
    </dgm:pt>
    <dgm:pt modelId="{BB502853-2436-4E23-A179-9E0EE716BF8C}" type="pres">
      <dgm:prSet presAssocID="{B8408C07-B965-420B-AA4F-EF7BF3626137}" presName="rootComposite" presStyleCnt="0"/>
      <dgm:spPr/>
    </dgm:pt>
    <dgm:pt modelId="{82EB6CB6-BC4E-4D4C-A10D-B3680BF7A7D2}" type="pres">
      <dgm:prSet presAssocID="{B8408C07-B965-420B-AA4F-EF7BF3626137}" presName="rootText" presStyleLbl="node2" presStyleIdx="3" presStyleCnt="5" custScaleX="243614" custScaleY="152981" custLinFactNeighborX="4653" custLinFactNeighborY="-29859">
        <dgm:presLayoutVars>
          <dgm:chPref val="3"/>
        </dgm:presLayoutVars>
      </dgm:prSet>
      <dgm:spPr>
        <a:prstGeom prst="rect">
          <a:avLst/>
        </a:prstGeom>
      </dgm:spPr>
      <dgm:t>
        <a:bodyPr/>
        <a:lstStyle/>
        <a:p>
          <a:endParaRPr lang="en-GB"/>
        </a:p>
      </dgm:t>
    </dgm:pt>
    <dgm:pt modelId="{3529AC6F-214E-4BA5-9ABF-2AAB4904DB2A}" type="pres">
      <dgm:prSet presAssocID="{B8408C07-B965-420B-AA4F-EF7BF3626137}" presName="rootConnector" presStyleLbl="node2" presStyleIdx="3" presStyleCnt="5"/>
      <dgm:spPr/>
      <dgm:t>
        <a:bodyPr/>
        <a:lstStyle/>
        <a:p>
          <a:endParaRPr lang="en-GB"/>
        </a:p>
      </dgm:t>
    </dgm:pt>
    <dgm:pt modelId="{680C4AC6-7203-4B1B-9601-B803D3048B23}" type="pres">
      <dgm:prSet presAssocID="{B8408C07-B965-420B-AA4F-EF7BF3626137}" presName="hierChild4" presStyleCnt="0"/>
      <dgm:spPr/>
    </dgm:pt>
    <dgm:pt modelId="{3DC3783D-00DF-4D73-BC7D-A41DFB3A67B6}" type="pres">
      <dgm:prSet presAssocID="{259B2E52-E7E2-4233-88B2-F72E854BF241}" presName="Name37" presStyleLbl="parChTrans1D3" presStyleIdx="16" presStyleCnt="26"/>
      <dgm:spPr>
        <a:custGeom>
          <a:avLst/>
          <a:gdLst/>
          <a:ahLst/>
          <a:cxnLst/>
          <a:rect l="0" t="0" r="0" b="0"/>
          <a:pathLst>
            <a:path>
              <a:moveTo>
                <a:pt x="148148" y="0"/>
              </a:moveTo>
              <a:lnTo>
                <a:pt x="0" y="377121"/>
              </a:lnTo>
            </a:path>
          </a:pathLst>
        </a:custGeom>
      </dgm:spPr>
      <dgm:t>
        <a:bodyPr/>
        <a:lstStyle/>
        <a:p>
          <a:endParaRPr lang="en-GB"/>
        </a:p>
      </dgm:t>
    </dgm:pt>
    <dgm:pt modelId="{60C8AFC8-C4AD-4B04-91D4-A5B5C090D367}" type="pres">
      <dgm:prSet presAssocID="{F4EA981A-F986-4877-BD25-5C14FE41D176}" presName="hierRoot2" presStyleCnt="0">
        <dgm:presLayoutVars>
          <dgm:hierBranch val="init"/>
        </dgm:presLayoutVars>
      </dgm:prSet>
      <dgm:spPr/>
    </dgm:pt>
    <dgm:pt modelId="{B486CE47-7DD5-48BF-8D75-E540029EE6CA}" type="pres">
      <dgm:prSet presAssocID="{F4EA981A-F986-4877-BD25-5C14FE41D176}" presName="rootComposite" presStyleCnt="0"/>
      <dgm:spPr/>
    </dgm:pt>
    <dgm:pt modelId="{0750D890-C529-4565-BAB3-D4A4004C9728}" type="pres">
      <dgm:prSet presAssocID="{F4EA981A-F986-4877-BD25-5C14FE41D176}" presName="rootText" presStyleLbl="node3" presStyleIdx="16" presStyleCnt="26" custScaleX="216984" custScaleY="126094" custLinFactNeighborX="-48324" custLinFactNeighborY="-51234">
        <dgm:presLayoutVars>
          <dgm:chPref val="3"/>
        </dgm:presLayoutVars>
      </dgm:prSet>
      <dgm:spPr>
        <a:prstGeom prst="rect">
          <a:avLst/>
        </a:prstGeom>
      </dgm:spPr>
      <dgm:t>
        <a:bodyPr/>
        <a:lstStyle/>
        <a:p>
          <a:endParaRPr lang="en-GB"/>
        </a:p>
      </dgm:t>
    </dgm:pt>
    <dgm:pt modelId="{53D8C03D-8A58-4E09-A501-D19238429C1F}" type="pres">
      <dgm:prSet presAssocID="{F4EA981A-F986-4877-BD25-5C14FE41D176}" presName="rootConnector" presStyleLbl="node3" presStyleIdx="16" presStyleCnt="26"/>
      <dgm:spPr/>
      <dgm:t>
        <a:bodyPr/>
        <a:lstStyle/>
        <a:p>
          <a:endParaRPr lang="en-GB"/>
        </a:p>
      </dgm:t>
    </dgm:pt>
    <dgm:pt modelId="{9C4339F7-3EFD-4F3B-A986-8D230CE96470}" type="pres">
      <dgm:prSet presAssocID="{F4EA981A-F986-4877-BD25-5C14FE41D176}" presName="hierChild4" presStyleCnt="0"/>
      <dgm:spPr/>
    </dgm:pt>
    <dgm:pt modelId="{6841046C-A373-43FC-AD58-F587E8686F44}" type="pres">
      <dgm:prSet presAssocID="{F4EA981A-F986-4877-BD25-5C14FE41D176}" presName="hierChild5" presStyleCnt="0"/>
      <dgm:spPr/>
    </dgm:pt>
    <dgm:pt modelId="{1B9B1158-72D8-4646-84DD-EF716B116A0C}" type="pres">
      <dgm:prSet presAssocID="{B5C8BB55-6EF8-44D3-999A-69265F0E1FBC}" presName="Name37" presStyleLbl="parChTrans1D3" presStyleIdx="17" presStyleCnt="26"/>
      <dgm:spPr>
        <a:custGeom>
          <a:avLst/>
          <a:gdLst/>
          <a:ahLst/>
          <a:cxnLst/>
          <a:rect l="0" t="0" r="0" b="0"/>
          <a:pathLst>
            <a:path>
              <a:moveTo>
                <a:pt x="102103" y="0"/>
              </a:moveTo>
              <a:lnTo>
                <a:pt x="0" y="1017319"/>
              </a:lnTo>
            </a:path>
          </a:pathLst>
        </a:custGeom>
      </dgm:spPr>
      <dgm:t>
        <a:bodyPr/>
        <a:lstStyle/>
        <a:p>
          <a:endParaRPr lang="en-GB"/>
        </a:p>
      </dgm:t>
    </dgm:pt>
    <dgm:pt modelId="{91134C7B-6308-40CC-8BCC-21F895B27679}" type="pres">
      <dgm:prSet presAssocID="{93ABD30C-0E7B-486F-A681-9A005A28D744}" presName="hierRoot2" presStyleCnt="0">
        <dgm:presLayoutVars>
          <dgm:hierBranch val="init"/>
        </dgm:presLayoutVars>
      </dgm:prSet>
      <dgm:spPr/>
    </dgm:pt>
    <dgm:pt modelId="{907D4FED-0B85-4459-B11D-7880BF19FE84}" type="pres">
      <dgm:prSet presAssocID="{93ABD30C-0E7B-486F-A681-9A005A28D744}" presName="rootComposite" presStyleCnt="0"/>
      <dgm:spPr/>
    </dgm:pt>
    <dgm:pt modelId="{6B26C1DA-C267-4CEE-A825-2498CB5CCDE4}" type="pres">
      <dgm:prSet presAssocID="{93ABD30C-0E7B-486F-A681-9A005A28D744}" presName="rootText" presStyleLbl="node3" presStyleIdx="17" presStyleCnt="26" custScaleX="216984" custScaleY="126094" custLinFactNeighborX="-43216" custLinFactNeighborY="-77287">
        <dgm:presLayoutVars>
          <dgm:chPref val="3"/>
        </dgm:presLayoutVars>
      </dgm:prSet>
      <dgm:spPr>
        <a:prstGeom prst="rect">
          <a:avLst/>
        </a:prstGeom>
      </dgm:spPr>
      <dgm:t>
        <a:bodyPr/>
        <a:lstStyle/>
        <a:p>
          <a:endParaRPr lang="en-GB"/>
        </a:p>
      </dgm:t>
    </dgm:pt>
    <dgm:pt modelId="{4DC09D01-8663-4654-AAA6-5B039AD072A1}" type="pres">
      <dgm:prSet presAssocID="{93ABD30C-0E7B-486F-A681-9A005A28D744}" presName="rootConnector" presStyleLbl="node3" presStyleIdx="17" presStyleCnt="26"/>
      <dgm:spPr/>
      <dgm:t>
        <a:bodyPr/>
        <a:lstStyle/>
        <a:p>
          <a:endParaRPr lang="en-GB"/>
        </a:p>
      </dgm:t>
    </dgm:pt>
    <dgm:pt modelId="{6D4C8EFB-9A63-4D1C-B48D-76E9CCC91125}" type="pres">
      <dgm:prSet presAssocID="{93ABD30C-0E7B-486F-A681-9A005A28D744}" presName="hierChild4" presStyleCnt="0"/>
      <dgm:spPr/>
    </dgm:pt>
    <dgm:pt modelId="{62F18575-2872-43AF-B296-AD9C83EBCE51}" type="pres">
      <dgm:prSet presAssocID="{93ABD30C-0E7B-486F-A681-9A005A28D744}" presName="hierChild5" presStyleCnt="0"/>
      <dgm:spPr/>
    </dgm:pt>
    <dgm:pt modelId="{07B10B61-0933-49D5-9F06-7E2744C55194}" type="pres">
      <dgm:prSet presAssocID="{4367FA1D-0ED9-4CD2-A69D-AB32E669494E}" presName="Name37" presStyleLbl="parChTrans1D3" presStyleIdx="18" presStyleCnt="26"/>
      <dgm:spPr>
        <a:custGeom>
          <a:avLst/>
          <a:gdLst/>
          <a:ahLst/>
          <a:cxnLst/>
          <a:rect l="0" t="0" r="0" b="0"/>
          <a:pathLst>
            <a:path>
              <a:moveTo>
                <a:pt x="102103" y="0"/>
              </a:moveTo>
              <a:lnTo>
                <a:pt x="0" y="1657522"/>
              </a:lnTo>
            </a:path>
          </a:pathLst>
        </a:custGeom>
      </dgm:spPr>
      <dgm:t>
        <a:bodyPr/>
        <a:lstStyle/>
        <a:p>
          <a:endParaRPr lang="en-GB"/>
        </a:p>
      </dgm:t>
    </dgm:pt>
    <dgm:pt modelId="{B7B6B13A-B466-44A7-9373-F20080332702}" type="pres">
      <dgm:prSet presAssocID="{698692B6-1357-4EE6-9048-DE912A24D330}" presName="hierRoot2" presStyleCnt="0">
        <dgm:presLayoutVars>
          <dgm:hierBranch val="init"/>
        </dgm:presLayoutVars>
      </dgm:prSet>
      <dgm:spPr/>
    </dgm:pt>
    <dgm:pt modelId="{8DD64E20-1315-4B75-8660-B8B28B286A90}" type="pres">
      <dgm:prSet presAssocID="{698692B6-1357-4EE6-9048-DE912A24D330}" presName="rootComposite" presStyleCnt="0"/>
      <dgm:spPr/>
    </dgm:pt>
    <dgm:pt modelId="{9E15D32B-A159-4B43-91E5-E167856E33BF}" type="pres">
      <dgm:prSet presAssocID="{698692B6-1357-4EE6-9048-DE912A24D330}" presName="rootText" presStyleLbl="node3" presStyleIdx="18" presStyleCnt="26" custScaleX="216984" custScaleY="126094" custLinFactY="-3339" custLinFactNeighborX="-43216" custLinFactNeighborY="-100000">
        <dgm:presLayoutVars>
          <dgm:chPref val="3"/>
        </dgm:presLayoutVars>
      </dgm:prSet>
      <dgm:spPr>
        <a:prstGeom prst="rect">
          <a:avLst/>
        </a:prstGeom>
      </dgm:spPr>
      <dgm:t>
        <a:bodyPr/>
        <a:lstStyle/>
        <a:p>
          <a:endParaRPr lang="en-GB"/>
        </a:p>
      </dgm:t>
    </dgm:pt>
    <dgm:pt modelId="{445AE659-5C5A-488F-9D84-8716842FB809}" type="pres">
      <dgm:prSet presAssocID="{698692B6-1357-4EE6-9048-DE912A24D330}" presName="rootConnector" presStyleLbl="node3" presStyleIdx="18" presStyleCnt="26"/>
      <dgm:spPr/>
      <dgm:t>
        <a:bodyPr/>
        <a:lstStyle/>
        <a:p>
          <a:endParaRPr lang="en-GB"/>
        </a:p>
      </dgm:t>
    </dgm:pt>
    <dgm:pt modelId="{30005633-7034-4DF5-8FA8-E6150C3C532A}" type="pres">
      <dgm:prSet presAssocID="{698692B6-1357-4EE6-9048-DE912A24D330}" presName="hierChild4" presStyleCnt="0"/>
      <dgm:spPr/>
    </dgm:pt>
    <dgm:pt modelId="{D37E5529-BA5A-40ED-9DF4-F763BEE0B11E}" type="pres">
      <dgm:prSet presAssocID="{698692B6-1357-4EE6-9048-DE912A24D330}" presName="hierChild5" presStyleCnt="0"/>
      <dgm:spPr/>
    </dgm:pt>
    <dgm:pt modelId="{A8C59E33-8BD9-4E59-8FBA-3889B6B99033}" type="pres">
      <dgm:prSet presAssocID="{B8408C07-B965-420B-AA4F-EF7BF3626137}" presName="hierChild5" presStyleCnt="0"/>
      <dgm:spPr/>
    </dgm:pt>
    <dgm:pt modelId="{76881711-8B76-4157-8371-D2A005E257D7}" type="pres">
      <dgm:prSet presAssocID="{0C80A140-103B-41C0-9712-E50AB27044E3}" presName="Name37" presStyleLbl="parChTrans1D2" presStyleIdx="4" presStyleCnt="5"/>
      <dgm:spPr>
        <a:custGeom>
          <a:avLst/>
          <a:gdLst/>
          <a:ahLst/>
          <a:cxnLst/>
          <a:rect l="0" t="0" r="0" b="0"/>
          <a:pathLst>
            <a:path>
              <a:moveTo>
                <a:pt x="0" y="45720"/>
              </a:moveTo>
              <a:lnTo>
                <a:pt x="5522117" y="45720"/>
              </a:lnTo>
              <a:lnTo>
                <a:pt x="5522117" y="111368"/>
              </a:lnTo>
            </a:path>
          </a:pathLst>
        </a:custGeom>
      </dgm:spPr>
      <dgm:t>
        <a:bodyPr/>
        <a:lstStyle/>
        <a:p>
          <a:endParaRPr lang="en-GB"/>
        </a:p>
      </dgm:t>
    </dgm:pt>
    <dgm:pt modelId="{B016AF52-EF24-48EA-B883-B7A6EEBD317C}" type="pres">
      <dgm:prSet presAssocID="{B983738D-B6CD-4ACC-B021-5D6559383373}" presName="hierRoot2" presStyleCnt="0">
        <dgm:presLayoutVars>
          <dgm:hierBranch val="init"/>
        </dgm:presLayoutVars>
      </dgm:prSet>
      <dgm:spPr/>
    </dgm:pt>
    <dgm:pt modelId="{7B1C4C30-4B36-4C3F-9AEE-26CC76DCF16A}" type="pres">
      <dgm:prSet presAssocID="{B983738D-B6CD-4ACC-B021-5D6559383373}" presName="rootComposite" presStyleCnt="0"/>
      <dgm:spPr/>
    </dgm:pt>
    <dgm:pt modelId="{C9A66C12-5161-47AC-809C-85074A4E7350}" type="pres">
      <dgm:prSet presAssocID="{B983738D-B6CD-4ACC-B021-5D6559383373}" presName="rootText" presStyleLbl="node2" presStyleIdx="4" presStyleCnt="5" custScaleX="243614" custScaleY="134544" custLinFactNeighborX="-3059" custLinFactNeighborY="-29859">
        <dgm:presLayoutVars>
          <dgm:chPref val="3"/>
        </dgm:presLayoutVars>
      </dgm:prSet>
      <dgm:spPr>
        <a:prstGeom prst="rect">
          <a:avLst/>
        </a:prstGeom>
      </dgm:spPr>
      <dgm:t>
        <a:bodyPr/>
        <a:lstStyle/>
        <a:p>
          <a:endParaRPr lang="en-GB"/>
        </a:p>
      </dgm:t>
    </dgm:pt>
    <dgm:pt modelId="{1E0CCDDD-DA94-48AA-9AF2-605E42E813DB}" type="pres">
      <dgm:prSet presAssocID="{B983738D-B6CD-4ACC-B021-5D6559383373}" presName="rootConnector" presStyleLbl="node2" presStyleIdx="4" presStyleCnt="5"/>
      <dgm:spPr/>
      <dgm:t>
        <a:bodyPr/>
        <a:lstStyle/>
        <a:p>
          <a:endParaRPr lang="en-GB"/>
        </a:p>
      </dgm:t>
    </dgm:pt>
    <dgm:pt modelId="{0D2FB71C-9870-4800-99B8-E9BCED327B60}" type="pres">
      <dgm:prSet presAssocID="{B983738D-B6CD-4ACC-B021-5D6559383373}" presName="hierChild4" presStyleCnt="0"/>
      <dgm:spPr/>
    </dgm:pt>
    <dgm:pt modelId="{E969B95B-BF5F-4C79-8B06-7BB350822E73}" type="pres">
      <dgm:prSet presAssocID="{053B73E8-8B63-4D84-B935-856163DE1EFC}" presName="Name37" presStyleLbl="parChTrans1D3" presStyleIdx="19" presStyleCnt="26"/>
      <dgm:spPr>
        <a:custGeom>
          <a:avLst/>
          <a:gdLst/>
          <a:ahLst/>
          <a:cxnLst/>
          <a:rect l="0" t="0" r="0" b="0"/>
          <a:pathLst>
            <a:path>
              <a:moveTo>
                <a:pt x="92566" y="0"/>
              </a:moveTo>
              <a:lnTo>
                <a:pt x="45720" y="292346"/>
              </a:lnTo>
            </a:path>
          </a:pathLst>
        </a:custGeom>
      </dgm:spPr>
      <dgm:t>
        <a:bodyPr/>
        <a:lstStyle/>
        <a:p>
          <a:endParaRPr lang="en-GB"/>
        </a:p>
      </dgm:t>
    </dgm:pt>
    <dgm:pt modelId="{E4E41682-C694-4778-9E28-FB0026AF1386}" type="pres">
      <dgm:prSet presAssocID="{2FEE9ABB-9118-4F89-B57E-5FB3AE26A9DD}" presName="hierRoot2" presStyleCnt="0">
        <dgm:presLayoutVars>
          <dgm:hierBranch val="init"/>
        </dgm:presLayoutVars>
      </dgm:prSet>
      <dgm:spPr/>
    </dgm:pt>
    <dgm:pt modelId="{6A851532-5B0C-4B9B-9ECB-B4597A40A85E}" type="pres">
      <dgm:prSet presAssocID="{2FEE9ABB-9118-4F89-B57E-5FB3AE26A9DD}" presName="rootComposite" presStyleCnt="0"/>
      <dgm:spPr/>
    </dgm:pt>
    <dgm:pt modelId="{C6932264-56D3-4DF9-8D2C-021A743567DD}" type="pres">
      <dgm:prSet presAssocID="{2FEE9ABB-9118-4F89-B57E-5FB3AE26A9DD}" presName="rootText" presStyleLbl="node3" presStyleIdx="19" presStyleCnt="26" custScaleX="199071" custLinFactNeighborX="-44798" custLinFactNeighborY="-56996">
        <dgm:presLayoutVars>
          <dgm:chPref val="3"/>
        </dgm:presLayoutVars>
      </dgm:prSet>
      <dgm:spPr>
        <a:prstGeom prst="rect">
          <a:avLst/>
        </a:prstGeom>
      </dgm:spPr>
      <dgm:t>
        <a:bodyPr/>
        <a:lstStyle/>
        <a:p>
          <a:endParaRPr lang="en-GB"/>
        </a:p>
      </dgm:t>
    </dgm:pt>
    <dgm:pt modelId="{DD9CCF90-B2E3-4925-9055-02B847306E59}" type="pres">
      <dgm:prSet presAssocID="{2FEE9ABB-9118-4F89-B57E-5FB3AE26A9DD}" presName="rootConnector" presStyleLbl="node3" presStyleIdx="19" presStyleCnt="26"/>
      <dgm:spPr/>
      <dgm:t>
        <a:bodyPr/>
        <a:lstStyle/>
        <a:p>
          <a:endParaRPr lang="en-GB"/>
        </a:p>
      </dgm:t>
    </dgm:pt>
    <dgm:pt modelId="{9C95F66F-D879-42DF-941B-74DE22032C94}" type="pres">
      <dgm:prSet presAssocID="{2FEE9ABB-9118-4F89-B57E-5FB3AE26A9DD}" presName="hierChild4" presStyleCnt="0"/>
      <dgm:spPr/>
    </dgm:pt>
    <dgm:pt modelId="{4AFB5385-10EC-475F-B2F8-B6CCD7D7E4D2}" type="pres">
      <dgm:prSet presAssocID="{2FEE9ABB-9118-4F89-B57E-5FB3AE26A9DD}" presName="hierChild5" presStyleCnt="0"/>
      <dgm:spPr/>
    </dgm:pt>
    <dgm:pt modelId="{30D36E63-1B7A-4999-B032-672C2B5B93C8}" type="pres">
      <dgm:prSet presAssocID="{7F261382-8D87-413A-8D05-DC35E9B459FF}" presName="Name37" presStyleLbl="parChTrans1D3" presStyleIdx="20" presStyleCnt="26"/>
      <dgm:spPr>
        <a:custGeom>
          <a:avLst/>
          <a:gdLst/>
          <a:ahLst/>
          <a:cxnLst/>
          <a:rect l="0" t="0" r="0" b="0"/>
          <a:pathLst>
            <a:path>
              <a:moveTo>
                <a:pt x="89258" y="0"/>
              </a:moveTo>
              <a:lnTo>
                <a:pt x="45720" y="796943"/>
              </a:lnTo>
            </a:path>
          </a:pathLst>
        </a:custGeom>
      </dgm:spPr>
      <dgm:t>
        <a:bodyPr/>
        <a:lstStyle/>
        <a:p>
          <a:endParaRPr lang="en-GB"/>
        </a:p>
      </dgm:t>
    </dgm:pt>
    <dgm:pt modelId="{3A929C0E-81FB-4E7A-BE59-62AB48FCBF88}" type="pres">
      <dgm:prSet presAssocID="{9D90A7A5-CCD4-4D01-BA9A-53F4E97656E6}" presName="hierRoot2" presStyleCnt="0">
        <dgm:presLayoutVars>
          <dgm:hierBranch val="init"/>
        </dgm:presLayoutVars>
      </dgm:prSet>
      <dgm:spPr/>
    </dgm:pt>
    <dgm:pt modelId="{010BE033-EC63-4A67-B243-9D80E2AA578A}" type="pres">
      <dgm:prSet presAssocID="{9D90A7A5-CCD4-4D01-BA9A-53F4E97656E6}" presName="rootComposite" presStyleCnt="0"/>
      <dgm:spPr/>
    </dgm:pt>
    <dgm:pt modelId="{699B182D-F671-424A-9A63-23C7C7B4D8F7}" type="pres">
      <dgm:prSet presAssocID="{9D90A7A5-CCD4-4D01-BA9A-53F4E97656E6}" presName="rootText" presStyleLbl="node3" presStyleIdx="20" presStyleCnt="26" custScaleX="199071" custLinFactNeighborX="-44431" custLinFactNeighborY="-87041">
        <dgm:presLayoutVars>
          <dgm:chPref val="3"/>
        </dgm:presLayoutVars>
      </dgm:prSet>
      <dgm:spPr>
        <a:prstGeom prst="rect">
          <a:avLst/>
        </a:prstGeom>
      </dgm:spPr>
      <dgm:t>
        <a:bodyPr/>
        <a:lstStyle/>
        <a:p>
          <a:endParaRPr lang="en-GB"/>
        </a:p>
      </dgm:t>
    </dgm:pt>
    <dgm:pt modelId="{4803F6AC-2159-4596-8F72-02FB462BBC70}" type="pres">
      <dgm:prSet presAssocID="{9D90A7A5-CCD4-4D01-BA9A-53F4E97656E6}" presName="rootConnector" presStyleLbl="node3" presStyleIdx="20" presStyleCnt="26"/>
      <dgm:spPr/>
      <dgm:t>
        <a:bodyPr/>
        <a:lstStyle/>
        <a:p>
          <a:endParaRPr lang="en-GB"/>
        </a:p>
      </dgm:t>
    </dgm:pt>
    <dgm:pt modelId="{86B10551-3A3E-41F6-A685-E06E17DB6929}" type="pres">
      <dgm:prSet presAssocID="{9D90A7A5-CCD4-4D01-BA9A-53F4E97656E6}" presName="hierChild4" presStyleCnt="0"/>
      <dgm:spPr/>
    </dgm:pt>
    <dgm:pt modelId="{209ADEF1-73DF-445E-821E-111D0C0ECE48}" type="pres">
      <dgm:prSet presAssocID="{9D90A7A5-CCD4-4D01-BA9A-53F4E97656E6}" presName="hierChild5" presStyleCnt="0"/>
      <dgm:spPr/>
    </dgm:pt>
    <dgm:pt modelId="{0513B296-BBE7-4146-9B5C-663C91C280DB}" type="pres">
      <dgm:prSet presAssocID="{D9CCD712-DF0C-486C-9EAE-42146F1FF777}" presName="Name37" presStyleLbl="parChTrans1D3" presStyleIdx="21" presStyleCnt="26"/>
      <dgm:spPr>
        <a:custGeom>
          <a:avLst/>
          <a:gdLst/>
          <a:ahLst/>
          <a:cxnLst/>
          <a:rect l="0" t="0" r="0" b="0"/>
          <a:pathLst>
            <a:path>
              <a:moveTo>
                <a:pt x="89258" y="0"/>
              </a:moveTo>
              <a:lnTo>
                <a:pt x="45720" y="1314655"/>
              </a:lnTo>
            </a:path>
          </a:pathLst>
        </a:custGeom>
      </dgm:spPr>
      <dgm:t>
        <a:bodyPr/>
        <a:lstStyle/>
        <a:p>
          <a:endParaRPr lang="en-GB"/>
        </a:p>
      </dgm:t>
    </dgm:pt>
    <dgm:pt modelId="{B8858D5F-7F88-42D1-9217-E0B98A94FD47}" type="pres">
      <dgm:prSet presAssocID="{E13C7255-99C3-463C-88B3-944FDDEDDCC1}" presName="hierRoot2" presStyleCnt="0">
        <dgm:presLayoutVars>
          <dgm:hierBranch val="init"/>
        </dgm:presLayoutVars>
      </dgm:prSet>
      <dgm:spPr/>
    </dgm:pt>
    <dgm:pt modelId="{24AEDB05-C598-4D63-A24B-484993FF08B2}" type="pres">
      <dgm:prSet presAssocID="{E13C7255-99C3-463C-88B3-944FDDEDDCC1}" presName="rootComposite" presStyleCnt="0"/>
      <dgm:spPr/>
    </dgm:pt>
    <dgm:pt modelId="{F470B49C-FBB9-45ED-A78A-B1F71A6D76AD}" type="pres">
      <dgm:prSet presAssocID="{E13C7255-99C3-463C-88B3-944FDDEDDCC1}" presName="rootText" presStyleLbl="node3" presStyleIdx="21" presStyleCnt="26" custScaleX="199071" custLinFactY="-14176" custLinFactNeighborX="-44431" custLinFactNeighborY="-100000">
        <dgm:presLayoutVars>
          <dgm:chPref val="3"/>
        </dgm:presLayoutVars>
      </dgm:prSet>
      <dgm:spPr>
        <a:prstGeom prst="rect">
          <a:avLst/>
        </a:prstGeom>
      </dgm:spPr>
      <dgm:t>
        <a:bodyPr/>
        <a:lstStyle/>
        <a:p>
          <a:endParaRPr lang="en-GB"/>
        </a:p>
      </dgm:t>
    </dgm:pt>
    <dgm:pt modelId="{81388B3A-C50A-4FAA-BF40-8230A03C9B9A}" type="pres">
      <dgm:prSet presAssocID="{E13C7255-99C3-463C-88B3-944FDDEDDCC1}" presName="rootConnector" presStyleLbl="node3" presStyleIdx="21" presStyleCnt="26"/>
      <dgm:spPr/>
      <dgm:t>
        <a:bodyPr/>
        <a:lstStyle/>
        <a:p>
          <a:endParaRPr lang="en-GB"/>
        </a:p>
      </dgm:t>
    </dgm:pt>
    <dgm:pt modelId="{CB51F144-535B-4F4B-BBE8-2C80F6F7F0F9}" type="pres">
      <dgm:prSet presAssocID="{E13C7255-99C3-463C-88B3-944FDDEDDCC1}" presName="hierChild4" presStyleCnt="0"/>
      <dgm:spPr/>
    </dgm:pt>
    <dgm:pt modelId="{259FE6F9-A254-4881-B500-D9A71E5D65D2}" type="pres">
      <dgm:prSet presAssocID="{E13C7255-99C3-463C-88B3-944FDDEDDCC1}" presName="hierChild5" presStyleCnt="0"/>
      <dgm:spPr/>
    </dgm:pt>
    <dgm:pt modelId="{47F1120A-A083-49E8-9E5C-CE1F6413F9BB}" type="pres">
      <dgm:prSet presAssocID="{F5AAD115-D470-4475-8607-D5E6FED1948F}" presName="Name37" presStyleLbl="parChTrans1D3" presStyleIdx="22" presStyleCnt="26"/>
      <dgm:spPr>
        <a:custGeom>
          <a:avLst/>
          <a:gdLst/>
          <a:ahLst/>
          <a:cxnLst/>
          <a:rect l="0" t="0" r="0" b="0"/>
          <a:pathLst>
            <a:path>
              <a:moveTo>
                <a:pt x="89258" y="0"/>
              </a:moveTo>
              <a:lnTo>
                <a:pt x="45720" y="1849986"/>
              </a:lnTo>
            </a:path>
          </a:pathLst>
        </a:custGeom>
      </dgm:spPr>
      <dgm:t>
        <a:bodyPr/>
        <a:lstStyle/>
        <a:p>
          <a:endParaRPr lang="en-GB"/>
        </a:p>
      </dgm:t>
    </dgm:pt>
    <dgm:pt modelId="{59794096-81C7-41A7-8BC8-A5D7F3FC85FE}" type="pres">
      <dgm:prSet presAssocID="{BC412EB7-C7E5-4551-B509-CA54EA28D57E}" presName="hierRoot2" presStyleCnt="0">
        <dgm:presLayoutVars>
          <dgm:hierBranch val="init"/>
        </dgm:presLayoutVars>
      </dgm:prSet>
      <dgm:spPr/>
    </dgm:pt>
    <dgm:pt modelId="{22EBDFD3-E422-4965-BF60-7CDD7822315D}" type="pres">
      <dgm:prSet presAssocID="{BC412EB7-C7E5-4551-B509-CA54EA28D57E}" presName="rootComposite" presStyleCnt="0"/>
      <dgm:spPr/>
    </dgm:pt>
    <dgm:pt modelId="{20731877-7187-429D-B3A8-7DECDA5070FE}" type="pres">
      <dgm:prSet presAssocID="{BC412EB7-C7E5-4551-B509-CA54EA28D57E}" presName="rootText" presStyleLbl="node3" presStyleIdx="22" presStyleCnt="26" custScaleX="199071" custLinFactY="-37402" custLinFactNeighborX="-44431" custLinFactNeighborY="-100000">
        <dgm:presLayoutVars>
          <dgm:chPref val="3"/>
        </dgm:presLayoutVars>
      </dgm:prSet>
      <dgm:spPr>
        <a:prstGeom prst="rect">
          <a:avLst/>
        </a:prstGeom>
      </dgm:spPr>
      <dgm:t>
        <a:bodyPr/>
        <a:lstStyle/>
        <a:p>
          <a:endParaRPr lang="en-GB"/>
        </a:p>
      </dgm:t>
    </dgm:pt>
    <dgm:pt modelId="{B64ED020-C463-49FF-8094-016150B2A60C}" type="pres">
      <dgm:prSet presAssocID="{BC412EB7-C7E5-4551-B509-CA54EA28D57E}" presName="rootConnector" presStyleLbl="node3" presStyleIdx="22" presStyleCnt="26"/>
      <dgm:spPr/>
      <dgm:t>
        <a:bodyPr/>
        <a:lstStyle/>
        <a:p>
          <a:endParaRPr lang="en-GB"/>
        </a:p>
      </dgm:t>
    </dgm:pt>
    <dgm:pt modelId="{EA9BAB9B-5E77-475B-AE9C-0CBD4E07AB33}" type="pres">
      <dgm:prSet presAssocID="{BC412EB7-C7E5-4551-B509-CA54EA28D57E}" presName="hierChild4" presStyleCnt="0"/>
      <dgm:spPr/>
    </dgm:pt>
    <dgm:pt modelId="{FB48E384-92C0-4C77-BF57-00E2BB453755}" type="pres">
      <dgm:prSet presAssocID="{BC412EB7-C7E5-4551-B509-CA54EA28D57E}" presName="hierChild5" presStyleCnt="0"/>
      <dgm:spPr/>
    </dgm:pt>
    <dgm:pt modelId="{5FD6F4FB-DDB8-4ECF-B98C-0BEC42938CD3}" type="pres">
      <dgm:prSet presAssocID="{CBD5489F-E4C0-487E-8E70-409B6544C7FE}" presName="Name37" presStyleLbl="parChTrans1D3" presStyleIdx="23" presStyleCnt="26"/>
      <dgm:spPr>
        <a:custGeom>
          <a:avLst/>
          <a:gdLst/>
          <a:ahLst/>
          <a:cxnLst/>
          <a:rect l="0" t="0" r="0" b="0"/>
          <a:pathLst>
            <a:path>
              <a:moveTo>
                <a:pt x="89258" y="0"/>
              </a:moveTo>
              <a:lnTo>
                <a:pt x="45720" y="2380890"/>
              </a:lnTo>
            </a:path>
          </a:pathLst>
        </a:custGeom>
      </dgm:spPr>
      <dgm:t>
        <a:bodyPr/>
        <a:lstStyle/>
        <a:p>
          <a:endParaRPr lang="en-GB"/>
        </a:p>
      </dgm:t>
    </dgm:pt>
    <dgm:pt modelId="{09C1AAE6-97D2-45F0-AA5F-3BDB24EEADC8}" type="pres">
      <dgm:prSet presAssocID="{8CE32C3B-0D8F-4350-95E0-06E2647F48A5}" presName="hierRoot2" presStyleCnt="0">
        <dgm:presLayoutVars>
          <dgm:hierBranch val="init"/>
        </dgm:presLayoutVars>
      </dgm:prSet>
      <dgm:spPr/>
    </dgm:pt>
    <dgm:pt modelId="{8DBA0E44-5570-43AF-832B-1A54869FDB2A}" type="pres">
      <dgm:prSet presAssocID="{8CE32C3B-0D8F-4350-95E0-06E2647F48A5}" presName="rootComposite" presStyleCnt="0"/>
      <dgm:spPr/>
    </dgm:pt>
    <dgm:pt modelId="{1A8B11D2-3342-43F5-B281-F26FA4BDE16F}" type="pres">
      <dgm:prSet presAssocID="{8CE32C3B-0D8F-4350-95E0-06E2647F48A5}" presName="rootText" presStyleLbl="node3" presStyleIdx="23" presStyleCnt="26" custScaleX="199071" custLinFactY="-61610" custLinFactNeighborX="-44431" custLinFactNeighborY="-100000">
        <dgm:presLayoutVars>
          <dgm:chPref val="3"/>
        </dgm:presLayoutVars>
      </dgm:prSet>
      <dgm:spPr>
        <a:prstGeom prst="rect">
          <a:avLst/>
        </a:prstGeom>
      </dgm:spPr>
      <dgm:t>
        <a:bodyPr/>
        <a:lstStyle/>
        <a:p>
          <a:endParaRPr lang="en-GB"/>
        </a:p>
      </dgm:t>
    </dgm:pt>
    <dgm:pt modelId="{B991F8E7-E96B-4D05-AE80-B5FE9647EED7}" type="pres">
      <dgm:prSet presAssocID="{8CE32C3B-0D8F-4350-95E0-06E2647F48A5}" presName="rootConnector" presStyleLbl="node3" presStyleIdx="23" presStyleCnt="26"/>
      <dgm:spPr/>
      <dgm:t>
        <a:bodyPr/>
        <a:lstStyle/>
        <a:p>
          <a:endParaRPr lang="en-GB"/>
        </a:p>
      </dgm:t>
    </dgm:pt>
    <dgm:pt modelId="{27FC1422-098A-4B73-9241-2A583A938843}" type="pres">
      <dgm:prSet presAssocID="{8CE32C3B-0D8F-4350-95E0-06E2647F48A5}" presName="hierChild4" presStyleCnt="0"/>
      <dgm:spPr/>
    </dgm:pt>
    <dgm:pt modelId="{9D794841-7694-453F-AF78-B2CE32D1AA95}" type="pres">
      <dgm:prSet presAssocID="{8CE32C3B-0D8F-4350-95E0-06E2647F48A5}" presName="hierChild5" presStyleCnt="0"/>
      <dgm:spPr/>
    </dgm:pt>
    <dgm:pt modelId="{2A44425D-D7C8-40F6-A0F1-CB9AD593B73B}" type="pres">
      <dgm:prSet presAssocID="{143F3EEF-62D8-43AD-8063-BA1FD86AC836}" presName="Name37" presStyleLbl="parChTrans1D3" presStyleIdx="24" presStyleCnt="26"/>
      <dgm:spPr>
        <a:custGeom>
          <a:avLst/>
          <a:gdLst/>
          <a:ahLst/>
          <a:cxnLst/>
          <a:rect l="0" t="0" r="0" b="0"/>
          <a:pathLst>
            <a:path>
              <a:moveTo>
                <a:pt x="89258" y="0"/>
              </a:moveTo>
              <a:lnTo>
                <a:pt x="45720" y="2929341"/>
              </a:lnTo>
            </a:path>
          </a:pathLst>
        </a:custGeom>
      </dgm:spPr>
      <dgm:t>
        <a:bodyPr/>
        <a:lstStyle/>
        <a:p>
          <a:endParaRPr lang="en-GB"/>
        </a:p>
      </dgm:t>
    </dgm:pt>
    <dgm:pt modelId="{425919B7-9E1B-4C61-BBA5-3B5568B3D22D}" type="pres">
      <dgm:prSet presAssocID="{4A08814D-C873-480C-BD28-7A65D53F71D8}" presName="hierRoot2" presStyleCnt="0">
        <dgm:presLayoutVars>
          <dgm:hierBranch val="init"/>
        </dgm:presLayoutVars>
      </dgm:prSet>
      <dgm:spPr/>
    </dgm:pt>
    <dgm:pt modelId="{FC05B788-26A6-4CD1-9579-8AD4F5122318}" type="pres">
      <dgm:prSet presAssocID="{4A08814D-C873-480C-BD28-7A65D53F71D8}" presName="rootComposite" presStyleCnt="0"/>
      <dgm:spPr/>
    </dgm:pt>
    <dgm:pt modelId="{043824C3-24DA-4A30-A957-CD48C867E7EB}" type="pres">
      <dgm:prSet presAssocID="{4A08814D-C873-480C-BD28-7A65D53F71D8}" presName="rootText" presStyleLbl="node3" presStyleIdx="24" presStyleCnt="26" custScaleX="199071" custLinFactY="-81925" custLinFactNeighborX="-44431" custLinFactNeighborY="-100000">
        <dgm:presLayoutVars>
          <dgm:chPref val="3"/>
        </dgm:presLayoutVars>
      </dgm:prSet>
      <dgm:spPr>
        <a:prstGeom prst="rect">
          <a:avLst/>
        </a:prstGeom>
      </dgm:spPr>
      <dgm:t>
        <a:bodyPr/>
        <a:lstStyle/>
        <a:p>
          <a:endParaRPr lang="en-GB"/>
        </a:p>
      </dgm:t>
    </dgm:pt>
    <dgm:pt modelId="{8A5A4975-D139-4DFF-BF92-2C4891FCFD7D}" type="pres">
      <dgm:prSet presAssocID="{4A08814D-C873-480C-BD28-7A65D53F71D8}" presName="rootConnector" presStyleLbl="node3" presStyleIdx="24" presStyleCnt="26"/>
      <dgm:spPr/>
      <dgm:t>
        <a:bodyPr/>
        <a:lstStyle/>
        <a:p>
          <a:endParaRPr lang="en-GB"/>
        </a:p>
      </dgm:t>
    </dgm:pt>
    <dgm:pt modelId="{C4C88432-A0E0-466E-93A2-DB3F93B5EF73}" type="pres">
      <dgm:prSet presAssocID="{4A08814D-C873-480C-BD28-7A65D53F71D8}" presName="hierChild4" presStyleCnt="0"/>
      <dgm:spPr/>
    </dgm:pt>
    <dgm:pt modelId="{A7715335-09D7-4946-B779-A42808A7EC71}" type="pres">
      <dgm:prSet presAssocID="{4A08814D-C873-480C-BD28-7A65D53F71D8}" presName="hierChild5" presStyleCnt="0"/>
      <dgm:spPr/>
    </dgm:pt>
    <dgm:pt modelId="{D9E992A6-A633-4754-A876-B06BF9F7A37B}" type="pres">
      <dgm:prSet presAssocID="{6C962E12-A7E7-4DBA-B1EE-60065B1DDA80}" presName="Name37" presStyleLbl="parChTrans1D3" presStyleIdx="25" presStyleCnt="26"/>
      <dgm:spPr>
        <a:custGeom>
          <a:avLst/>
          <a:gdLst/>
          <a:ahLst/>
          <a:cxnLst/>
          <a:rect l="0" t="0" r="0" b="0"/>
          <a:pathLst>
            <a:path>
              <a:moveTo>
                <a:pt x="89258" y="0"/>
              </a:moveTo>
              <a:lnTo>
                <a:pt x="45720" y="3458319"/>
              </a:lnTo>
            </a:path>
          </a:pathLst>
        </a:custGeom>
      </dgm:spPr>
      <dgm:t>
        <a:bodyPr/>
        <a:lstStyle/>
        <a:p>
          <a:endParaRPr lang="en-GB"/>
        </a:p>
      </dgm:t>
    </dgm:pt>
    <dgm:pt modelId="{C8EFECE9-7CC0-4C94-BC3C-8CE7CF6FB630}" type="pres">
      <dgm:prSet presAssocID="{44283B74-6908-4E7F-9B11-0AFB346BE0A4}" presName="hierRoot2" presStyleCnt="0">
        <dgm:presLayoutVars>
          <dgm:hierBranch val="init"/>
        </dgm:presLayoutVars>
      </dgm:prSet>
      <dgm:spPr/>
    </dgm:pt>
    <dgm:pt modelId="{B0F2454C-1505-45FF-95F9-BF53329A8B26}" type="pres">
      <dgm:prSet presAssocID="{44283B74-6908-4E7F-9B11-0AFB346BE0A4}" presName="rootComposite" presStyleCnt="0"/>
      <dgm:spPr/>
    </dgm:pt>
    <dgm:pt modelId="{93FCE660-DDC3-4AB5-B916-99CEE63A83BE}" type="pres">
      <dgm:prSet presAssocID="{44283B74-6908-4E7F-9B11-0AFB346BE0A4}" presName="rootText" presStyleLbl="node3" presStyleIdx="25" presStyleCnt="26" custScaleX="199071" custScaleY="103037" custLinFactY="-100000" custLinFactNeighborX="-44431" custLinFactNeighborY="-108079">
        <dgm:presLayoutVars>
          <dgm:chPref val="3"/>
        </dgm:presLayoutVars>
      </dgm:prSet>
      <dgm:spPr>
        <a:prstGeom prst="rect">
          <a:avLst/>
        </a:prstGeom>
      </dgm:spPr>
      <dgm:t>
        <a:bodyPr/>
        <a:lstStyle/>
        <a:p>
          <a:endParaRPr lang="en-GB"/>
        </a:p>
      </dgm:t>
    </dgm:pt>
    <dgm:pt modelId="{A9406A68-DF67-4473-ACC1-B0C98CF9EF57}" type="pres">
      <dgm:prSet presAssocID="{44283B74-6908-4E7F-9B11-0AFB346BE0A4}" presName="rootConnector" presStyleLbl="node3" presStyleIdx="25" presStyleCnt="26"/>
      <dgm:spPr/>
      <dgm:t>
        <a:bodyPr/>
        <a:lstStyle/>
        <a:p>
          <a:endParaRPr lang="en-GB"/>
        </a:p>
      </dgm:t>
    </dgm:pt>
    <dgm:pt modelId="{CD10DD08-9C09-4AEA-82BC-62178C8FAE16}" type="pres">
      <dgm:prSet presAssocID="{44283B74-6908-4E7F-9B11-0AFB346BE0A4}" presName="hierChild4" presStyleCnt="0"/>
      <dgm:spPr/>
    </dgm:pt>
    <dgm:pt modelId="{C89D0D45-3664-44AC-BDAC-3B543E36099A}" type="pres">
      <dgm:prSet presAssocID="{44283B74-6908-4E7F-9B11-0AFB346BE0A4}" presName="hierChild5" presStyleCnt="0"/>
      <dgm:spPr/>
    </dgm:pt>
    <dgm:pt modelId="{A2B46BB7-F381-46BB-BC2D-7BE85501FBCC}" type="pres">
      <dgm:prSet presAssocID="{B983738D-B6CD-4ACC-B021-5D6559383373}" presName="hierChild5" presStyleCnt="0"/>
      <dgm:spPr/>
    </dgm:pt>
    <dgm:pt modelId="{D141E0DF-F6A8-42EF-9C5A-D0A3BD548DD4}" type="pres">
      <dgm:prSet presAssocID="{563B9CF3-40AE-4F6D-9802-FBE29F2DB0FD}" presName="hierChild3" presStyleCnt="0"/>
      <dgm:spPr/>
    </dgm:pt>
  </dgm:ptLst>
  <dgm:cxnLst>
    <dgm:cxn modelId="{0E4E6895-CB07-43E6-9422-124A2C202952}" type="presOf" srcId="{0C80A140-103B-41C0-9712-E50AB27044E3}" destId="{76881711-8B76-4157-8371-D2A005E257D7}" srcOrd="0" destOrd="0" presId="urn:microsoft.com/office/officeart/2005/8/layout/orgChart1"/>
    <dgm:cxn modelId="{A099C488-8450-4C27-90A1-E68F7ED3AE94}" type="presOf" srcId="{143F3EEF-62D8-43AD-8063-BA1FD86AC836}" destId="{2A44425D-D7C8-40F6-A0F1-CB9AD593B73B}" srcOrd="0" destOrd="0" presId="urn:microsoft.com/office/officeart/2005/8/layout/orgChart1"/>
    <dgm:cxn modelId="{2F4273A8-A5C0-464F-9697-EB0529BF75D9}" type="presOf" srcId="{D9CCD712-DF0C-486C-9EAE-42146F1FF777}" destId="{0513B296-BBE7-4146-9B5C-663C91C280DB}" srcOrd="0" destOrd="0" presId="urn:microsoft.com/office/officeart/2005/8/layout/orgChart1"/>
    <dgm:cxn modelId="{E863620C-0F1D-47EF-B344-18F0A4DDD337}" type="presOf" srcId="{4A273B54-5675-4A36-BC30-269F184B394E}" destId="{F0F62E1F-8929-43B7-BB6A-F1C6E74066B2}" srcOrd="0" destOrd="0" presId="urn:microsoft.com/office/officeart/2005/8/layout/orgChart1"/>
    <dgm:cxn modelId="{AE2524CA-BD60-4CE2-B7A2-8DFB66593244}" type="presOf" srcId="{6C962E12-A7E7-4DBA-B1EE-60065B1DDA80}" destId="{D9E992A6-A633-4754-A876-B06BF9F7A37B}" srcOrd="0" destOrd="0" presId="urn:microsoft.com/office/officeart/2005/8/layout/orgChart1"/>
    <dgm:cxn modelId="{7C528ACD-157C-4C36-B8A8-D1CE49231138}" type="presOf" srcId="{5BCFE927-CDC4-4421-909F-E280F719A3A5}" destId="{A158FBDA-FE80-481D-A683-1087A6297DF7}" srcOrd="0" destOrd="0" presId="urn:microsoft.com/office/officeart/2005/8/layout/orgChart1"/>
    <dgm:cxn modelId="{7E02C549-F6CE-4292-9E57-84BC748A1399}" type="presOf" srcId="{F29A0D9E-A4D4-4086-BF87-078907F654D3}" destId="{0061E253-07A5-4060-9D9C-063107019FC0}" srcOrd="1" destOrd="0" presId="urn:microsoft.com/office/officeart/2005/8/layout/orgChart1"/>
    <dgm:cxn modelId="{B0FDF64F-625C-40D0-9EE1-095F02A8C47F}" type="presOf" srcId="{1ABE179A-0583-4343-B229-7613337F1F01}" destId="{12C49A15-D18B-47B3-9CA0-B40898F9CD50}" srcOrd="1" destOrd="0" presId="urn:microsoft.com/office/officeart/2005/8/layout/orgChart1"/>
    <dgm:cxn modelId="{EF1853B0-260D-461C-8E3E-67748B41FE88}" type="presOf" srcId="{93ABD30C-0E7B-486F-A681-9A005A28D744}" destId="{4DC09D01-8663-4654-AAA6-5B039AD072A1}" srcOrd="1" destOrd="0" presId="urn:microsoft.com/office/officeart/2005/8/layout/orgChart1"/>
    <dgm:cxn modelId="{8D2615EE-F750-4FD5-83EC-7682DDC52CEA}" type="presOf" srcId="{CBD5489F-E4C0-487E-8E70-409B6544C7FE}" destId="{5FD6F4FB-DDB8-4ECF-B98C-0BEC42938CD3}" srcOrd="0" destOrd="0" presId="urn:microsoft.com/office/officeart/2005/8/layout/orgChart1"/>
    <dgm:cxn modelId="{45CDF906-C301-41DF-AA32-5A1089CF1819}" type="presOf" srcId="{55C81A84-977C-474F-9898-E3299C72446E}" destId="{C5765A06-B728-4F1F-BEA5-C8B842B28AB3}" srcOrd="1" destOrd="0" presId="urn:microsoft.com/office/officeart/2005/8/layout/orgChart1"/>
    <dgm:cxn modelId="{7C477566-97A3-4AFA-B150-45BE11DF05E5}" type="presOf" srcId="{1AEE5C21-8809-4BD3-BF4B-96F643A6442C}" destId="{8126E7ED-1EFB-4DC7-B93C-A509EDCFECC6}" srcOrd="0" destOrd="0" presId="urn:microsoft.com/office/officeart/2005/8/layout/orgChart1"/>
    <dgm:cxn modelId="{875AEAF6-5D21-4E32-A1DB-5284B4957E34}" type="presOf" srcId="{053B73E8-8B63-4D84-B935-856163DE1EFC}" destId="{E969B95B-BF5F-4C79-8B06-7BB350822E73}" srcOrd="0" destOrd="0" presId="urn:microsoft.com/office/officeart/2005/8/layout/orgChart1"/>
    <dgm:cxn modelId="{122C6CF2-4D2A-4692-8C9D-987EEE212658}" type="presOf" srcId="{563B9CF3-40AE-4F6D-9802-FBE29F2DB0FD}" destId="{A9E37B58-C84D-4333-9EB6-FEA63F667BD6}" srcOrd="0" destOrd="0" presId="urn:microsoft.com/office/officeart/2005/8/layout/orgChart1"/>
    <dgm:cxn modelId="{EEFEDA24-8561-4FEC-9D00-07968C607754}" srcId="{27C0C58C-3A95-4427-952F-34ADD3E4CA9C}" destId="{B3CDC9F2-1FA6-4E0F-8439-B8268D9B8069}" srcOrd="4" destOrd="0" parTransId="{74CFB57A-27E6-492C-AA1E-444AA012A6C4}" sibTransId="{B0125F60-2B77-4FFD-9FBC-A9FA2F50345F}"/>
    <dgm:cxn modelId="{F2E54336-9F79-434D-8450-4D5574263EA9}" type="presOf" srcId="{A8A7589E-3DC7-45D1-8F72-BB5B052E3F69}" destId="{8796C872-A8EA-4958-8B94-1C7ED8D2C1E3}" srcOrd="1" destOrd="0" presId="urn:microsoft.com/office/officeart/2005/8/layout/orgChart1"/>
    <dgm:cxn modelId="{863B3A47-A2BC-4430-9C0B-E9FCC4BBB730}" type="presOf" srcId="{A8EDCBF5-48EE-49F5-8B6F-59FB4A586749}" destId="{074B3E2F-8466-4A4D-AA59-72F2C06F9895}" srcOrd="0" destOrd="0" presId="urn:microsoft.com/office/officeart/2005/8/layout/orgChart1"/>
    <dgm:cxn modelId="{8A55A166-81C6-4286-93A1-101E999A6594}" type="presOf" srcId="{27C0C58C-3A95-4427-952F-34ADD3E4CA9C}" destId="{5658B9D7-A9F2-4897-B0C6-17D9C45E1BD9}" srcOrd="1" destOrd="0" presId="urn:microsoft.com/office/officeart/2005/8/layout/orgChart1"/>
    <dgm:cxn modelId="{1F611F66-E825-490E-BB89-E0A1B69C25A0}" srcId="{B8408C07-B965-420B-AA4F-EF7BF3626137}" destId="{93ABD30C-0E7B-486F-A681-9A005A28D744}" srcOrd="1" destOrd="0" parTransId="{B5C8BB55-6EF8-44D3-999A-69265F0E1FBC}" sibTransId="{863BD30A-A7E9-45B6-B8A5-658CBA70071A}"/>
    <dgm:cxn modelId="{0CB407C0-2E9A-4EE8-900F-51938B7A358F}" srcId="{8022EEFC-19A3-4AF2-888C-321CE5B24E4C}" destId="{563B9CF3-40AE-4F6D-9802-FBE29F2DB0FD}" srcOrd="0" destOrd="0" parTransId="{3E9FD29A-F7AA-4812-AFD7-F4473F2158AD}" sibTransId="{05BEB253-1CA9-4CA9-8CD4-0CB9A17B327C}"/>
    <dgm:cxn modelId="{429C15F2-5087-41D6-8386-B5BF6D01EC30}" type="presOf" srcId="{8AFF9318-8DC2-4264-8170-0C61AAFD79FE}" destId="{C91CBDDB-C61F-488B-86C6-4EEFDF3ED038}" srcOrd="0" destOrd="0" presId="urn:microsoft.com/office/officeart/2005/8/layout/orgChart1"/>
    <dgm:cxn modelId="{74227164-A7E0-4904-BC53-698127419C7E}" type="presOf" srcId="{3434C784-D2EB-4907-A577-1424C17A4231}" destId="{9233F8A3-3DD8-405A-B709-2177E2199FEB}" srcOrd="0" destOrd="0" presId="urn:microsoft.com/office/officeart/2005/8/layout/orgChart1"/>
    <dgm:cxn modelId="{20DD6BCF-EBBB-46CF-B3F2-5F45E2F4073A}" srcId="{83E65023-33D0-46DA-A1B3-7F0C7C8C046D}" destId="{4A273B54-5675-4A36-BC30-269F184B394E}" srcOrd="5" destOrd="0" parTransId="{B9768B53-8850-4D94-B15A-B424BE92EB7A}" sibTransId="{52079362-CDB7-4D88-9EF5-A9C28CCD6275}"/>
    <dgm:cxn modelId="{7283AEC3-5A9D-49B3-B035-280F58A08BAC}" srcId="{B983738D-B6CD-4ACC-B021-5D6559383373}" destId="{8CE32C3B-0D8F-4350-95E0-06E2647F48A5}" srcOrd="4" destOrd="0" parTransId="{CBD5489F-E4C0-487E-8E70-409B6544C7FE}" sibTransId="{3D84A69F-E197-4E30-9927-1DF3D525EF39}"/>
    <dgm:cxn modelId="{E161F89A-1A0B-4996-B618-695861845180}" srcId="{B8408C07-B965-420B-AA4F-EF7BF3626137}" destId="{698692B6-1357-4EE6-9048-DE912A24D330}" srcOrd="2" destOrd="0" parTransId="{4367FA1D-0ED9-4CD2-A69D-AB32E669494E}" sibTransId="{8FA8089E-2D51-4610-81D7-AB21AC040FFC}"/>
    <dgm:cxn modelId="{57D3E2E2-FDAD-4322-A43E-64972BF25661}" type="presOf" srcId="{4A08814D-C873-480C-BD28-7A65D53F71D8}" destId="{043824C3-24DA-4A30-A957-CD48C867E7EB}" srcOrd="0" destOrd="0" presId="urn:microsoft.com/office/officeart/2005/8/layout/orgChart1"/>
    <dgm:cxn modelId="{955C43E1-EBF8-4AB7-B5DF-E6387573489C}" type="presOf" srcId="{83E65023-33D0-46DA-A1B3-7F0C7C8C046D}" destId="{00704EBE-B448-41C3-9648-6FB2DE06439D}" srcOrd="1" destOrd="0" presId="urn:microsoft.com/office/officeart/2005/8/layout/orgChart1"/>
    <dgm:cxn modelId="{621EE3B8-6D07-459C-A6D3-E3BA410FE6C2}" srcId="{563B9CF3-40AE-4F6D-9802-FBE29F2DB0FD}" destId="{27C0C58C-3A95-4427-952F-34ADD3E4CA9C}" srcOrd="0" destOrd="0" parTransId="{A0F550C9-0B7E-4467-B60C-2FE33DB848F1}" sibTransId="{A48D0EC1-8DC2-4E08-8DF7-FD71B3DFA6AD}"/>
    <dgm:cxn modelId="{D5E761D8-54A0-40BD-BF00-7A23094C32B8}" type="presOf" srcId="{4D9ED46B-69D1-47A5-8587-425F875E60C9}" destId="{7DE978DE-FDD4-4585-A148-67512926481F}" srcOrd="0" destOrd="0" presId="urn:microsoft.com/office/officeart/2005/8/layout/orgChart1"/>
    <dgm:cxn modelId="{3F42C667-99B0-4356-AAE2-C07DF8733B91}" type="presOf" srcId="{2FEE9ABB-9118-4F89-B57E-5FB3AE26A9DD}" destId="{C6932264-56D3-4DF9-8D2C-021A743567DD}" srcOrd="0" destOrd="0" presId="urn:microsoft.com/office/officeart/2005/8/layout/orgChart1"/>
    <dgm:cxn modelId="{58F5417A-444E-4123-B01B-11FBC07F003A}" type="presOf" srcId="{563B9CF3-40AE-4F6D-9802-FBE29F2DB0FD}" destId="{71995690-C90E-4D6E-B859-E011C699A051}" srcOrd="1" destOrd="0" presId="urn:microsoft.com/office/officeart/2005/8/layout/orgChart1"/>
    <dgm:cxn modelId="{57816D1E-B580-47C0-A950-5C5DB86F664B}" srcId="{83E65023-33D0-46DA-A1B3-7F0C7C8C046D}" destId="{DCA969C6-173D-4A46-9BA4-5119AF64DB64}" srcOrd="3" destOrd="0" parTransId="{CCCD879D-0878-4276-BBBF-ED7DC058AD7B}" sibTransId="{FE4AC76F-08FB-47BF-8FF3-FA756FFB418F}"/>
    <dgm:cxn modelId="{97E28140-8202-4121-AE36-ECEFFE61C3F6}" type="presOf" srcId="{B3CDC9F2-1FA6-4E0F-8439-B8268D9B8069}" destId="{96311BE1-6806-4936-A91A-7E842B15BE23}" srcOrd="1" destOrd="0" presId="urn:microsoft.com/office/officeart/2005/8/layout/orgChart1"/>
    <dgm:cxn modelId="{03075D37-2528-4019-A4CA-6DC361F3EAC0}" type="presOf" srcId="{259B2E52-E7E2-4233-88B2-F72E854BF241}" destId="{3DC3783D-00DF-4D73-BC7D-A41DFB3A67B6}" srcOrd="0" destOrd="0" presId="urn:microsoft.com/office/officeart/2005/8/layout/orgChart1"/>
    <dgm:cxn modelId="{2242DF51-6F3D-46A4-A1A5-04BE8850E38B}" srcId="{83E65023-33D0-46DA-A1B3-7F0C7C8C046D}" destId="{232AA91C-A830-4893-AB0C-E0B807EEE6B2}" srcOrd="1" destOrd="0" parTransId="{1AEE5C21-8809-4BD3-BF4B-96F643A6442C}" sibTransId="{FAB4A523-7091-432C-A10F-E583BE39856A}"/>
    <dgm:cxn modelId="{34666AA4-FE69-46B9-80EF-471EA1811EE5}" type="presOf" srcId="{7F261382-8D87-413A-8D05-DC35E9B459FF}" destId="{30D36E63-1B7A-4999-B032-672C2B5B93C8}" srcOrd="0" destOrd="0" presId="urn:microsoft.com/office/officeart/2005/8/layout/orgChart1"/>
    <dgm:cxn modelId="{711FCAF9-4D21-4B97-A062-7B23A8BE38BE}" type="presOf" srcId="{70510394-ADAF-4017-9A71-0CDBF70C8053}" destId="{1FF9E9F1-4FED-413C-B9FB-C759F942D31F}" srcOrd="1" destOrd="0" presId="urn:microsoft.com/office/officeart/2005/8/layout/orgChart1"/>
    <dgm:cxn modelId="{0CE6C1B0-4ABD-459D-9D81-C10AE58D9941}" type="presOf" srcId="{1E3C57A8-D11A-4464-B252-393BA62CA1A4}" destId="{0A7ECC2D-925A-4A5A-983B-44AA6F0DAF1D}" srcOrd="1" destOrd="0" presId="urn:microsoft.com/office/officeart/2005/8/layout/orgChart1"/>
    <dgm:cxn modelId="{9990CE20-CD65-4E97-9E00-1451F38FFCFD}" srcId="{563B9CF3-40AE-4F6D-9802-FBE29F2DB0FD}" destId="{B983738D-B6CD-4ACC-B021-5D6559383373}" srcOrd="4" destOrd="0" parTransId="{0C80A140-103B-41C0-9712-E50AB27044E3}" sibTransId="{7560B32A-7E95-48CB-8C6D-0F10B90600A1}"/>
    <dgm:cxn modelId="{FB84A9B1-52C9-44F1-87A5-16616E30E717}" type="presOf" srcId="{8AFF9318-8DC2-4264-8170-0C61AAFD79FE}" destId="{525B76B5-0D3D-477C-878E-708A48609BDE}" srcOrd="1" destOrd="0" presId="urn:microsoft.com/office/officeart/2005/8/layout/orgChart1"/>
    <dgm:cxn modelId="{5E220340-DA47-4702-8A45-6FC415887237}" type="presOf" srcId="{9A7E722F-D005-476C-8D43-4076AB9F30B1}" destId="{EC6C2DB6-0354-41F7-B81C-792F0FA9A4EE}" srcOrd="0" destOrd="0" presId="urn:microsoft.com/office/officeart/2005/8/layout/orgChart1"/>
    <dgm:cxn modelId="{929A3B98-C073-4CE0-A375-C30F09AEE4A7}" type="presOf" srcId="{DCA969C6-173D-4A46-9BA4-5119AF64DB64}" destId="{356B3328-D764-40AC-8224-7C581170E4AA}" srcOrd="0" destOrd="0" presId="urn:microsoft.com/office/officeart/2005/8/layout/orgChart1"/>
    <dgm:cxn modelId="{BF3D54F6-AD8E-45A5-9FA8-245F76789DA4}" type="presOf" srcId="{4A08814D-C873-480C-BD28-7A65D53F71D8}" destId="{8A5A4975-D139-4DFF-BF92-2C4891FCFD7D}" srcOrd="1" destOrd="0" presId="urn:microsoft.com/office/officeart/2005/8/layout/orgChart1"/>
    <dgm:cxn modelId="{0A6A00E3-D542-4873-8367-C3382833D3D5}" type="presOf" srcId="{E9AADBDC-3898-4643-98BB-93A35F6F1C1F}" destId="{0A4B7152-A5C0-4304-B702-BC0C52C9EC39}" srcOrd="1" destOrd="0" presId="urn:microsoft.com/office/officeart/2005/8/layout/orgChart1"/>
    <dgm:cxn modelId="{2DC5D7E2-9730-4B75-8227-EB18B157EEEA}" srcId="{B983738D-B6CD-4ACC-B021-5D6559383373}" destId="{BC412EB7-C7E5-4551-B509-CA54EA28D57E}" srcOrd="3" destOrd="0" parTransId="{F5AAD115-D470-4475-8607-D5E6FED1948F}" sibTransId="{2179CFA4-B746-49BD-B895-18B8AA8C993C}"/>
    <dgm:cxn modelId="{AEA04D72-AA84-46DE-8932-183DEDB301C0}" type="presOf" srcId="{58994A76-1B27-43DF-B02F-100B15B3B104}" destId="{3B68F40B-CA34-4933-9B66-DF0F8E5E033E}" srcOrd="0" destOrd="0" presId="urn:microsoft.com/office/officeart/2005/8/layout/orgChart1"/>
    <dgm:cxn modelId="{24BAD553-16FC-4E5D-B781-989F15982A99}" type="presOf" srcId="{CCCD879D-0878-4276-BBBF-ED7DC058AD7B}" destId="{3C19CDE8-1619-435F-BE8B-2AB153E85879}" srcOrd="0" destOrd="0" presId="urn:microsoft.com/office/officeart/2005/8/layout/orgChart1"/>
    <dgm:cxn modelId="{0606DEBD-A738-45F8-878E-22E1464A165A}" srcId="{B983738D-B6CD-4ACC-B021-5D6559383373}" destId="{2FEE9ABB-9118-4F89-B57E-5FB3AE26A9DD}" srcOrd="0" destOrd="0" parTransId="{053B73E8-8B63-4D84-B935-856163DE1EFC}" sibTransId="{F9266172-523F-4991-A3D1-6A0955532AA2}"/>
    <dgm:cxn modelId="{949BCF9F-BF94-41F0-A7A8-D905C4A55113}" type="presOf" srcId="{36F930DE-36A9-4BBF-B0E6-9FDFEF9E53E4}" destId="{AD7D63B9-7467-4870-AB99-425C675F3C72}" srcOrd="1" destOrd="0" presId="urn:microsoft.com/office/officeart/2005/8/layout/orgChart1"/>
    <dgm:cxn modelId="{FDD5D176-8563-49A7-B996-F99171560719}" type="presOf" srcId="{9D90A7A5-CCD4-4D01-BA9A-53F4E97656E6}" destId="{699B182D-F671-424A-9A63-23C7C7B4D8F7}" srcOrd="0" destOrd="0" presId="urn:microsoft.com/office/officeart/2005/8/layout/orgChart1"/>
    <dgm:cxn modelId="{75AFB2F3-479B-494C-B247-2CE3D35FC60B}" srcId="{83E65023-33D0-46DA-A1B3-7F0C7C8C046D}" destId="{1E3C57A8-D11A-4464-B252-393BA62CA1A4}" srcOrd="6" destOrd="0" parTransId="{88907CE6-6462-4C5F-8943-6C7E5D76B19C}" sibTransId="{544D910C-A3DC-4303-885C-9D01D7F73DFF}"/>
    <dgm:cxn modelId="{2CB88B82-D1EC-48E7-9C8E-86D7108C96CB}" type="presOf" srcId="{44283B74-6908-4E7F-9B11-0AFB346BE0A4}" destId="{93FCE660-DDC3-4AB5-B916-99CEE63A83BE}" srcOrd="0" destOrd="0" presId="urn:microsoft.com/office/officeart/2005/8/layout/orgChart1"/>
    <dgm:cxn modelId="{EACC7619-A364-4F23-91EC-DC84DD1FE9C8}" type="presOf" srcId="{E13C7255-99C3-463C-88B3-944FDDEDDCC1}" destId="{F470B49C-FBB9-45ED-A78A-B1F71A6D76AD}" srcOrd="0" destOrd="0" presId="urn:microsoft.com/office/officeart/2005/8/layout/orgChart1"/>
    <dgm:cxn modelId="{19643449-B438-4B82-B266-594223E32B2A}" type="presOf" srcId="{70510394-ADAF-4017-9A71-0CDBF70C8053}" destId="{175ADE88-AD71-4BAF-A40D-557E80A72AF6}" srcOrd="0" destOrd="0" presId="urn:microsoft.com/office/officeart/2005/8/layout/orgChart1"/>
    <dgm:cxn modelId="{5C1A61C7-3072-42DF-85F1-BE758985154C}" type="presOf" srcId="{B8408C07-B965-420B-AA4F-EF7BF3626137}" destId="{82EB6CB6-BC4E-4D4C-A10D-B3680BF7A7D2}" srcOrd="0" destOrd="0" presId="urn:microsoft.com/office/officeart/2005/8/layout/orgChart1"/>
    <dgm:cxn modelId="{074D1DE9-4BA7-48A6-AD39-F642B588B458}" type="presOf" srcId="{698692B6-1357-4EE6-9048-DE912A24D330}" destId="{9E15D32B-A159-4B43-91E5-E167856E33BF}" srcOrd="0" destOrd="0" presId="urn:microsoft.com/office/officeart/2005/8/layout/orgChart1"/>
    <dgm:cxn modelId="{A8F06851-02F9-48C6-8148-ED3BDA28FD87}" type="presOf" srcId="{44283B74-6908-4E7F-9B11-0AFB346BE0A4}" destId="{A9406A68-DF67-4473-ACC1-B0C98CF9EF57}" srcOrd="1" destOrd="0" presId="urn:microsoft.com/office/officeart/2005/8/layout/orgChart1"/>
    <dgm:cxn modelId="{7B0495A3-A137-4827-9401-8B66BE8E00C2}" srcId="{563B9CF3-40AE-4F6D-9802-FBE29F2DB0FD}" destId="{83E65023-33D0-46DA-A1B3-7F0C7C8C046D}" srcOrd="1" destOrd="0" parTransId="{5BCFE927-CDC4-4421-909F-E280F719A3A5}" sibTransId="{41873B5B-5F5A-4CF2-999E-5FE4C038B5D3}"/>
    <dgm:cxn modelId="{CD60D114-1174-4F9F-AB50-CE068219C6B7}" srcId="{B983738D-B6CD-4ACC-B021-5D6559383373}" destId="{9D90A7A5-CCD4-4D01-BA9A-53F4E97656E6}" srcOrd="1" destOrd="0" parTransId="{7F261382-8D87-413A-8D05-DC35E9B459FF}" sibTransId="{07A0BBC8-C2A3-4D84-9311-D7818CBD37BF}"/>
    <dgm:cxn modelId="{1E0F3B93-9FEF-4B5A-BE17-A51317296FA8}" type="presOf" srcId="{F4EA981A-F986-4877-BD25-5C14FE41D176}" destId="{53D8C03D-8A58-4E09-A501-D19238429C1F}" srcOrd="1" destOrd="0" presId="urn:microsoft.com/office/officeart/2005/8/layout/orgChart1"/>
    <dgm:cxn modelId="{6A301AEE-A1A5-4013-AAF9-8432436DBC24}" type="presOf" srcId="{B983738D-B6CD-4ACC-B021-5D6559383373}" destId="{1E0CCDDD-DA94-48AA-9AF2-605E42E813DB}" srcOrd="1" destOrd="0" presId="urn:microsoft.com/office/officeart/2005/8/layout/orgChart1"/>
    <dgm:cxn modelId="{F62C058E-63C0-4605-ACBF-16AFDDB5FED9}" type="presOf" srcId="{74CFB57A-27E6-492C-AA1E-444AA012A6C4}" destId="{38F6A058-7E48-4D72-99DA-87A83BD6629F}" srcOrd="0" destOrd="0" presId="urn:microsoft.com/office/officeart/2005/8/layout/orgChart1"/>
    <dgm:cxn modelId="{A10F591D-4995-402B-8FE6-D58EFD4115C8}" srcId="{563B9CF3-40AE-4F6D-9802-FBE29F2DB0FD}" destId="{B8408C07-B965-420B-AA4F-EF7BF3626137}" srcOrd="3" destOrd="0" parTransId="{205FFF2B-3A41-4A88-A3BE-31B22C2574A7}" sibTransId="{03C46B23-7DCA-4218-9A55-43725D271667}"/>
    <dgm:cxn modelId="{BE59C2B1-3064-4F02-AC2E-B0BA4E20CE8B}" type="presOf" srcId="{8022EEFC-19A3-4AF2-888C-321CE5B24E4C}" destId="{2AC042F1-67EC-4815-A747-C27DA26D9618}" srcOrd="0" destOrd="0" presId="urn:microsoft.com/office/officeart/2005/8/layout/orgChart1"/>
    <dgm:cxn modelId="{743F7899-4BBB-4EEF-86C9-0967FD1E65A9}" srcId="{E9AADBDC-3898-4643-98BB-93A35F6F1C1F}" destId="{36F930DE-36A9-4BBF-B0E6-9FDFEF9E53E4}" srcOrd="1" destOrd="0" parTransId="{EB2D0AFA-7107-4A7F-B30A-85794C6D48A5}" sibTransId="{D3C4AB0A-4E1C-47C7-BEF5-32E8F3E7149D}"/>
    <dgm:cxn modelId="{EFD6FE5F-A43F-4B35-8B32-88E6299931AB}" srcId="{B983738D-B6CD-4ACC-B021-5D6559383373}" destId="{4A08814D-C873-480C-BD28-7A65D53F71D8}" srcOrd="5" destOrd="0" parTransId="{143F3EEF-62D8-43AD-8063-BA1FD86AC836}" sibTransId="{129A8D46-961B-4A50-B8CF-A0116A842DB6}"/>
    <dgm:cxn modelId="{62FB7E22-1F3C-4A94-ADA5-6A4D9EE81B38}" type="presOf" srcId="{F4EA981A-F986-4877-BD25-5C14FE41D176}" destId="{0750D890-C529-4565-BAB3-D4A4004C9728}" srcOrd="0" destOrd="0" presId="urn:microsoft.com/office/officeart/2005/8/layout/orgChart1"/>
    <dgm:cxn modelId="{0242FF5D-6EAF-41B0-8BE9-65EF58508690}" type="presOf" srcId="{93ABD30C-0E7B-486F-A681-9A005A28D744}" destId="{6B26C1DA-C267-4CEE-A825-2498CB5CCDE4}" srcOrd="0" destOrd="0" presId="urn:microsoft.com/office/officeart/2005/8/layout/orgChart1"/>
    <dgm:cxn modelId="{8CC363B9-C8EB-4649-97BC-99BE415C1278}" type="presOf" srcId="{B5C8BB55-6EF8-44D3-999A-69265F0E1FBC}" destId="{1B9B1158-72D8-4646-84DD-EF716B116A0C}" srcOrd="0" destOrd="0" presId="urn:microsoft.com/office/officeart/2005/8/layout/orgChart1"/>
    <dgm:cxn modelId="{133C2F8B-2205-4D82-A49C-08BF37C9CA3D}" srcId="{563B9CF3-40AE-4F6D-9802-FBE29F2DB0FD}" destId="{E9AADBDC-3898-4643-98BB-93A35F6F1C1F}" srcOrd="2" destOrd="0" parTransId="{3CFDB6E9-11D5-4EF0-A84F-588AF277B995}" sibTransId="{F6738647-C183-4A57-A2B7-E23A6AB95EC2}"/>
    <dgm:cxn modelId="{54AEC9C3-FCCD-40D9-AC49-6E99DEFE0C6D}" srcId="{83E65023-33D0-46DA-A1B3-7F0C7C8C046D}" destId="{4D9ED46B-69D1-47A5-8587-425F875E60C9}" srcOrd="0" destOrd="0" parTransId="{58994A76-1B27-43DF-B02F-100B15B3B104}" sibTransId="{22A69CCF-FD75-4E98-B318-DC8302FAB2C0}"/>
    <dgm:cxn modelId="{AA6359FF-4F85-4ED4-8C88-2B1E5DA2435B}" srcId="{E9AADBDC-3898-4643-98BB-93A35F6F1C1F}" destId="{25DBDE9B-DA2B-4E29-B989-575DA86021B8}" srcOrd="0" destOrd="0" parTransId="{3434C784-D2EB-4907-A577-1424C17A4231}" sibTransId="{50EDEB7E-A84B-4457-B895-1CBBC66EB484}"/>
    <dgm:cxn modelId="{5DA6820C-3838-4C1A-BE22-41BC99D29352}" type="presOf" srcId="{88907CE6-6462-4C5F-8943-6C7E5D76B19C}" destId="{D0A2B68C-81AE-484B-AA25-5AD1DD9964D7}" srcOrd="0" destOrd="0" presId="urn:microsoft.com/office/officeart/2005/8/layout/orgChart1"/>
    <dgm:cxn modelId="{D35D31C4-58C3-4DAE-AD02-72C5C338527B}" type="presOf" srcId="{1ABE179A-0583-4343-B229-7613337F1F01}" destId="{4F5D1301-39C3-4858-B8EF-E38A066270C0}" srcOrd="0" destOrd="0" presId="urn:microsoft.com/office/officeart/2005/8/layout/orgChart1"/>
    <dgm:cxn modelId="{8180B001-46F7-4BA8-88E6-73720A9C0CB0}" type="presOf" srcId="{8CE32C3B-0D8F-4350-95E0-06E2647F48A5}" destId="{B991F8E7-E96B-4D05-AE80-B5FE9647EED7}" srcOrd="1" destOrd="0" presId="urn:microsoft.com/office/officeart/2005/8/layout/orgChart1"/>
    <dgm:cxn modelId="{9EF300FE-D821-49B0-BBC2-5A963CF826B0}" type="presOf" srcId="{9A7E722F-D005-476C-8D43-4076AB9F30B1}" destId="{9F604B41-DE7E-407E-92F7-E7B8863509DE}" srcOrd="1" destOrd="0" presId="urn:microsoft.com/office/officeart/2005/8/layout/orgChart1"/>
    <dgm:cxn modelId="{7F6A3A5C-6EE1-458C-B895-51B004816444}" type="presOf" srcId="{36F930DE-36A9-4BBF-B0E6-9FDFEF9E53E4}" destId="{679AFEB9-1304-4C46-92B9-D14908334993}" srcOrd="0" destOrd="0" presId="urn:microsoft.com/office/officeart/2005/8/layout/orgChart1"/>
    <dgm:cxn modelId="{2814F37C-D24A-44F6-A865-9CA9133E92C4}" srcId="{B983738D-B6CD-4ACC-B021-5D6559383373}" destId="{E13C7255-99C3-463C-88B3-944FDDEDDCC1}" srcOrd="2" destOrd="0" parTransId="{D9CCD712-DF0C-486C-9EAE-42146F1FF777}" sibTransId="{731F01EC-ADF1-4DB2-8C85-331B10078BC3}"/>
    <dgm:cxn modelId="{6AD3CF5A-10F3-453F-9365-B644F44C4A8C}" srcId="{27C0C58C-3A95-4427-952F-34ADD3E4CA9C}" destId="{1ABE179A-0583-4343-B229-7613337F1F01}" srcOrd="3" destOrd="0" parTransId="{A8EDCBF5-48EE-49F5-8B6F-59FB4A586749}" sibTransId="{DBF07675-A5B8-400A-9E2A-E3662E5E1631}"/>
    <dgm:cxn modelId="{0EB4A33B-0612-47D8-BF5E-8E52D0E027C1}" type="presOf" srcId="{232AA91C-A830-4893-AB0C-E0B807EEE6B2}" destId="{5A19E98F-0F3A-4E09-AB65-E5F1DA066601}" srcOrd="1" destOrd="0" presId="urn:microsoft.com/office/officeart/2005/8/layout/orgChart1"/>
    <dgm:cxn modelId="{9E3F715F-AB7C-4863-BDC4-A0E521AFE857}" type="presOf" srcId="{9D90A7A5-CCD4-4D01-BA9A-53F4E97656E6}" destId="{4803F6AC-2159-4596-8F72-02FB462BBC70}" srcOrd="1" destOrd="0" presId="urn:microsoft.com/office/officeart/2005/8/layout/orgChart1"/>
    <dgm:cxn modelId="{19D485BA-3A07-4762-8298-37C38471E62F}" srcId="{27C0C58C-3A95-4427-952F-34ADD3E4CA9C}" destId="{8AFF9318-8DC2-4264-8170-0C61AAFD79FE}" srcOrd="2" destOrd="0" parTransId="{2536716E-9789-487C-BB4D-6AEC03913F78}" sibTransId="{666101ED-8211-4982-9264-B193DFA3F7F5}"/>
    <dgm:cxn modelId="{4C4C9666-70FE-43AF-8ACD-676E0B92EA75}" type="presOf" srcId="{25DBDE9B-DA2B-4E29-B989-575DA86021B8}" destId="{F0663EE5-7143-42B2-A6AE-F82AA7D88908}" srcOrd="0" destOrd="0" presId="urn:microsoft.com/office/officeart/2005/8/layout/orgChart1"/>
    <dgm:cxn modelId="{2C8C894A-A07D-4904-95D1-C54BA9177EDD}" srcId="{E9AADBDC-3898-4643-98BB-93A35F6F1C1F}" destId="{F29A0D9E-A4D4-4086-BF87-078907F654D3}" srcOrd="2" destOrd="0" parTransId="{85F876EE-37BA-45E8-8766-D372D6B5A6B4}" sibTransId="{DD5D082F-12EE-4E5C-86FC-FF114B8B3083}"/>
    <dgm:cxn modelId="{9E42F9B0-FA3B-424E-96E5-FB6842016EA0}" srcId="{27C0C58C-3A95-4427-952F-34ADD3E4CA9C}" destId="{55C81A84-977C-474F-9898-E3299C72446E}" srcOrd="5" destOrd="0" parTransId="{85EB6D14-3548-49D4-9B2D-95B6FE3E896E}" sibTransId="{9018FE6B-7938-4F58-8E7C-8780258137CC}"/>
    <dgm:cxn modelId="{86A4D385-2F22-4BFF-931D-859B87D5FC92}" srcId="{83E65023-33D0-46DA-A1B3-7F0C7C8C046D}" destId="{70510394-ADAF-4017-9A71-0CDBF70C8053}" srcOrd="2" destOrd="0" parTransId="{39A6586C-73CD-4D64-A1FA-DFF0D99B7D4E}" sibTransId="{D94AC2A3-737F-46A2-AC99-71A23D9C4826}"/>
    <dgm:cxn modelId="{59E514F0-EA6B-47A3-A8B3-C009C1AA7203}" type="presOf" srcId="{1E3C57A8-D11A-4464-B252-393BA62CA1A4}" destId="{3AE77575-B618-4540-A5D3-713314C05524}" srcOrd="0" destOrd="0" presId="urn:microsoft.com/office/officeart/2005/8/layout/orgChart1"/>
    <dgm:cxn modelId="{6E13AF06-53C4-4419-8D3C-236C5061E953}" type="presOf" srcId="{A8A7589E-3DC7-45D1-8F72-BB5B052E3F69}" destId="{CF73B623-D36E-4A4E-8B66-62BC3E50EC0C}" srcOrd="0" destOrd="0" presId="urn:microsoft.com/office/officeart/2005/8/layout/orgChart1"/>
    <dgm:cxn modelId="{BFBEF4F7-EE73-4EAC-8DBD-88B319D1BB02}" type="presOf" srcId="{83E65023-33D0-46DA-A1B3-7F0C7C8C046D}" destId="{7D987F92-7D35-4143-98F0-7F550C1854D0}" srcOrd="0" destOrd="0" presId="urn:microsoft.com/office/officeart/2005/8/layout/orgChart1"/>
    <dgm:cxn modelId="{4590D2AD-5870-409F-99BF-E5E4C903C3F8}" type="presOf" srcId="{8CE32C3B-0D8F-4350-95E0-06E2647F48A5}" destId="{1A8B11D2-3342-43F5-B281-F26FA4BDE16F}" srcOrd="0" destOrd="0" presId="urn:microsoft.com/office/officeart/2005/8/layout/orgChart1"/>
    <dgm:cxn modelId="{08744F95-F872-414C-9CE3-D0498BD2E0A0}" type="presOf" srcId="{4A273B54-5675-4A36-BC30-269F184B394E}" destId="{B2119018-1591-4A2B-916A-EAC928437B99}" srcOrd="1" destOrd="0" presId="urn:microsoft.com/office/officeart/2005/8/layout/orgChart1"/>
    <dgm:cxn modelId="{6C59DEA7-00D9-42DC-84D9-F263792EC7CE}" type="presOf" srcId="{4367FA1D-0ED9-4CD2-A69D-AB32E669494E}" destId="{07B10B61-0933-49D5-9F06-7E2744C55194}" srcOrd="0" destOrd="0" presId="urn:microsoft.com/office/officeart/2005/8/layout/orgChart1"/>
    <dgm:cxn modelId="{21FEE4D9-BF9C-4462-ADF5-3FB63035E6DA}" type="presOf" srcId="{55C81A84-977C-474F-9898-E3299C72446E}" destId="{B0363488-F9A3-4DD4-BCDF-D8D2C1C53362}" srcOrd="0" destOrd="0" presId="urn:microsoft.com/office/officeart/2005/8/layout/orgChart1"/>
    <dgm:cxn modelId="{A1950F64-2214-40C5-9D80-C5BB6CA16DE1}" type="presOf" srcId="{EB2D0AFA-7107-4A7F-B30A-85794C6D48A5}" destId="{4292BEEF-ED59-4044-B99B-DC4347476C93}" srcOrd="0" destOrd="0" presId="urn:microsoft.com/office/officeart/2005/8/layout/orgChart1"/>
    <dgm:cxn modelId="{C6E52DB4-98AF-411C-A1AF-B51F2CEEC84E}" type="presOf" srcId="{B3CDC9F2-1FA6-4E0F-8439-B8268D9B8069}" destId="{F2BD23BC-2E0A-441B-BE28-E14725F51793}" srcOrd="0" destOrd="0" presId="urn:microsoft.com/office/officeart/2005/8/layout/orgChart1"/>
    <dgm:cxn modelId="{D5BEF9F0-CA14-4245-AF76-AA1EDD37020C}" srcId="{27C0C58C-3A95-4427-952F-34ADD3E4CA9C}" destId="{A8A7589E-3DC7-45D1-8F72-BB5B052E3F69}" srcOrd="1" destOrd="0" parTransId="{A4FDCB02-4C5E-4D69-833B-37E08536214A}" sibTransId="{8F84F8C6-91B2-45A5-90E5-6C25B3D5C642}"/>
    <dgm:cxn modelId="{98B4B99A-D402-4A59-9973-A2CE0FAA584C}" type="presOf" srcId="{B8408C07-B965-420B-AA4F-EF7BF3626137}" destId="{3529AC6F-214E-4BA5-9ABF-2AAB4904DB2A}" srcOrd="1" destOrd="0" presId="urn:microsoft.com/office/officeart/2005/8/layout/orgChart1"/>
    <dgm:cxn modelId="{84CABDC0-16A6-43E9-9766-C9D7D2D225F5}" type="presOf" srcId="{F5AAD115-D470-4475-8607-D5E6FED1948F}" destId="{47F1120A-A083-49E8-9E5C-CE1F6413F9BB}" srcOrd="0" destOrd="0" presId="urn:microsoft.com/office/officeart/2005/8/layout/orgChart1"/>
    <dgm:cxn modelId="{239D9930-32AA-410C-8803-017FD1F0A355}" type="presOf" srcId="{698692B6-1357-4EE6-9048-DE912A24D330}" destId="{445AE659-5C5A-488F-9D84-8716842FB809}" srcOrd="1" destOrd="0" presId="urn:microsoft.com/office/officeart/2005/8/layout/orgChart1"/>
    <dgm:cxn modelId="{FB4FC805-B775-4029-B093-CBF43BBC46F5}" type="presOf" srcId="{B9768B53-8850-4D94-B15A-B424BE92EB7A}" destId="{15BFC48D-BBC2-4AA7-84DF-E08D387E4BEE}" srcOrd="0" destOrd="0" presId="urn:microsoft.com/office/officeart/2005/8/layout/orgChart1"/>
    <dgm:cxn modelId="{E2A11E9E-4106-409F-A19B-E4A13B23389E}" type="presOf" srcId="{205FFF2B-3A41-4A88-A3BE-31B22C2574A7}" destId="{D08577E6-9F61-4368-8C6C-6BFE825C8CCF}" srcOrd="0" destOrd="0" presId="urn:microsoft.com/office/officeart/2005/8/layout/orgChart1"/>
    <dgm:cxn modelId="{5D39B697-AD5A-4A84-99A9-A7FAD2143FC4}" type="presOf" srcId="{4CC3869D-EA05-4F15-ABEF-E876B4DF3A97}" destId="{C08C8186-7CE9-48AE-B41B-D881FD3C4D87}" srcOrd="1" destOrd="0" presId="urn:microsoft.com/office/officeart/2005/8/layout/orgChart1"/>
    <dgm:cxn modelId="{147130D8-AB78-413E-82BF-9B9EB824F1B4}" type="presOf" srcId="{BC412EB7-C7E5-4551-B509-CA54EA28D57E}" destId="{20731877-7187-429D-B3A8-7DECDA5070FE}" srcOrd="0" destOrd="0" presId="urn:microsoft.com/office/officeart/2005/8/layout/orgChart1"/>
    <dgm:cxn modelId="{EFE7E8A0-F6E3-4DA4-B9F4-C4063E123F0E}" type="presOf" srcId="{3CFDB6E9-11D5-4EF0-A84F-588AF277B995}" destId="{D0B2D542-C665-4A27-AB65-BE2D43E07D73}" srcOrd="0" destOrd="0" presId="urn:microsoft.com/office/officeart/2005/8/layout/orgChart1"/>
    <dgm:cxn modelId="{A899C196-698D-41AE-9BB8-4EF696A31597}" type="presOf" srcId="{85F876EE-37BA-45E8-8766-D372D6B5A6B4}" destId="{B023BEAD-FFE1-4FE2-87DF-FBE8E5BE29A9}" srcOrd="0" destOrd="0" presId="urn:microsoft.com/office/officeart/2005/8/layout/orgChart1"/>
    <dgm:cxn modelId="{E262D2DD-FF85-49C4-B13E-BE1172AB56AE}" srcId="{83E65023-33D0-46DA-A1B3-7F0C7C8C046D}" destId="{4CC3869D-EA05-4F15-ABEF-E876B4DF3A97}" srcOrd="4" destOrd="0" parTransId="{60A8C610-33C6-4C13-A76B-645F44A3B723}" sibTransId="{062AB4E3-8430-4023-A667-0AA14B259536}"/>
    <dgm:cxn modelId="{3F92618F-D390-4382-8E78-25EEF7F6285B}" type="presOf" srcId="{232AA91C-A830-4893-AB0C-E0B807EEE6B2}" destId="{95060CD5-E72B-43E3-AE00-28ED9DE85B01}" srcOrd="0" destOrd="0" presId="urn:microsoft.com/office/officeart/2005/8/layout/orgChart1"/>
    <dgm:cxn modelId="{8B6D3E6B-1E1C-424A-9E2E-207E21695730}" type="presOf" srcId="{4CC3869D-EA05-4F15-ABEF-E876B4DF3A97}" destId="{0E5ADF65-7528-4E6B-A814-7FD4CDCBAEB0}" srcOrd="0" destOrd="0" presId="urn:microsoft.com/office/officeart/2005/8/layout/orgChart1"/>
    <dgm:cxn modelId="{DBF59E57-D3F2-4F0E-B127-870E00D72A1D}" type="presOf" srcId="{F29A0D9E-A4D4-4086-BF87-078907F654D3}" destId="{F47BE956-BC37-4E68-8509-835266EF4509}" srcOrd="0" destOrd="0" presId="urn:microsoft.com/office/officeart/2005/8/layout/orgChart1"/>
    <dgm:cxn modelId="{730520ED-7169-4914-B80D-BFCCF77A8094}" type="presOf" srcId="{BC412EB7-C7E5-4551-B509-CA54EA28D57E}" destId="{B64ED020-C463-49FF-8094-016150B2A60C}" srcOrd="1" destOrd="0" presId="urn:microsoft.com/office/officeart/2005/8/layout/orgChart1"/>
    <dgm:cxn modelId="{29FE4101-29D7-4C89-A477-CE97CB400A11}" type="presOf" srcId="{B983738D-B6CD-4ACC-B021-5D6559383373}" destId="{C9A66C12-5161-47AC-809C-85074A4E7350}" srcOrd="0" destOrd="0" presId="urn:microsoft.com/office/officeart/2005/8/layout/orgChart1"/>
    <dgm:cxn modelId="{F53A8A95-084D-4344-811C-78F7FB97A93F}" type="presOf" srcId="{A0F550C9-0B7E-4467-B60C-2FE33DB848F1}" destId="{DE7B0CDF-331C-43D7-B14C-4D2214ECC84C}" srcOrd="0" destOrd="0" presId="urn:microsoft.com/office/officeart/2005/8/layout/orgChart1"/>
    <dgm:cxn modelId="{AF149C4B-2C18-4075-9B0B-0CECEAE7807C}" type="presOf" srcId="{39A6586C-73CD-4D64-A1FA-DFF0D99B7D4E}" destId="{D20E2316-F1C9-4B58-809C-37D7B49498A8}" srcOrd="0" destOrd="0" presId="urn:microsoft.com/office/officeart/2005/8/layout/orgChart1"/>
    <dgm:cxn modelId="{53718CC9-8E53-4D35-ADD0-5EC3731355CA}" type="presOf" srcId="{DCA969C6-173D-4A46-9BA4-5119AF64DB64}" destId="{E93C2A34-A97C-4508-A88F-51D5DA31D8C2}" srcOrd="1" destOrd="0" presId="urn:microsoft.com/office/officeart/2005/8/layout/orgChart1"/>
    <dgm:cxn modelId="{25E290D3-9FC0-4D16-A2A9-C54C52AE6245}" type="presOf" srcId="{27C0C58C-3A95-4427-952F-34ADD3E4CA9C}" destId="{5C9EBB69-F299-433C-9832-400183B089DB}" srcOrd="0" destOrd="0" presId="urn:microsoft.com/office/officeart/2005/8/layout/orgChart1"/>
    <dgm:cxn modelId="{618DFB57-93A0-4614-84A9-D68F15B3DA60}" type="presOf" srcId="{85EB6D14-3548-49D4-9B2D-95B6FE3E896E}" destId="{BDA0D309-749C-449A-8DB4-EAF8CCA3E67D}" srcOrd="0" destOrd="0" presId="urn:microsoft.com/office/officeart/2005/8/layout/orgChart1"/>
    <dgm:cxn modelId="{B3DF4ADC-04F1-4E83-AAA5-B3588DB6BEC5}" type="presOf" srcId="{2FEE9ABB-9118-4F89-B57E-5FB3AE26A9DD}" destId="{DD9CCF90-B2E3-4925-9055-02B847306E59}" srcOrd="1" destOrd="0" presId="urn:microsoft.com/office/officeart/2005/8/layout/orgChart1"/>
    <dgm:cxn modelId="{CF573D39-C2CA-46F2-99C8-1B6BD5B3473D}" type="presOf" srcId="{25DBDE9B-DA2B-4E29-B989-575DA86021B8}" destId="{AE4351CA-69DC-4BA0-AB6C-9CE1DF3BD1D6}" srcOrd="1" destOrd="0" presId="urn:microsoft.com/office/officeart/2005/8/layout/orgChart1"/>
    <dgm:cxn modelId="{283E295D-081C-4040-8A51-2B21982470D6}" srcId="{B983738D-B6CD-4ACC-B021-5D6559383373}" destId="{44283B74-6908-4E7F-9B11-0AFB346BE0A4}" srcOrd="6" destOrd="0" parTransId="{6C962E12-A7E7-4DBA-B1EE-60065B1DDA80}" sibTransId="{E875A126-A25B-4CD6-A40C-FEDBC81D9ECC}"/>
    <dgm:cxn modelId="{68C9ED76-38E4-4F4F-ABB7-8862B636F9A0}" type="presOf" srcId="{F2D49BD6-65DF-42A1-872F-280CCBA4DCCB}" destId="{72ADB7DE-FFDE-43B9-98C0-716921DBE890}" srcOrd="0" destOrd="0" presId="urn:microsoft.com/office/officeart/2005/8/layout/orgChart1"/>
    <dgm:cxn modelId="{0F4674F9-D005-40C9-B531-F221C97655CF}" srcId="{27C0C58C-3A95-4427-952F-34ADD3E4CA9C}" destId="{9A7E722F-D005-476C-8D43-4076AB9F30B1}" srcOrd="0" destOrd="0" parTransId="{F2D49BD6-65DF-42A1-872F-280CCBA4DCCB}" sibTransId="{E9B0E5CE-4B6A-49EA-81F0-70936ACBEAC6}"/>
    <dgm:cxn modelId="{44DD8FF7-0ED3-444D-8341-55077B1111DB}" type="presOf" srcId="{4D9ED46B-69D1-47A5-8587-425F875E60C9}" destId="{F65783CD-FCF3-4364-BDAE-C6B8F35DE4E5}" srcOrd="1" destOrd="0" presId="urn:microsoft.com/office/officeart/2005/8/layout/orgChart1"/>
    <dgm:cxn modelId="{97C0427B-4B00-46C1-B581-002A7CD9269E}" type="presOf" srcId="{E13C7255-99C3-463C-88B3-944FDDEDDCC1}" destId="{81388B3A-C50A-4FAA-BF40-8230A03C9B9A}" srcOrd="1" destOrd="0" presId="urn:microsoft.com/office/officeart/2005/8/layout/orgChart1"/>
    <dgm:cxn modelId="{64E78620-1B36-455A-9C83-4E947340D755}" type="presOf" srcId="{E9AADBDC-3898-4643-98BB-93A35F6F1C1F}" destId="{20A39BFD-AC94-4833-AAAF-948F81E52002}" srcOrd="0" destOrd="0" presId="urn:microsoft.com/office/officeart/2005/8/layout/orgChart1"/>
    <dgm:cxn modelId="{C134093F-EC6F-4AE1-9EF5-B32247670E27}" type="presOf" srcId="{60A8C610-33C6-4C13-A76B-645F44A3B723}" destId="{BA812832-9151-4475-AEEE-997AAEA180DD}" srcOrd="0" destOrd="0" presId="urn:microsoft.com/office/officeart/2005/8/layout/orgChart1"/>
    <dgm:cxn modelId="{8A65B98B-160B-4BBA-B57D-BE2EDF8D11CF}" srcId="{B8408C07-B965-420B-AA4F-EF7BF3626137}" destId="{F4EA981A-F986-4877-BD25-5C14FE41D176}" srcOrd="0" destOrd="0" parTransId="{259B2E52-E7E2-4233-88B2-F72E854BF241}" sibTransId="{1F6D5CE7-832A-4E64-B338-FC127EF3F3A6}"/>
    <dgm:cxn modelId="{9E404E61-19D3-4DC0-B226-492D933FCBA9}" type="presOf" srcId="{A4FDCB02-4C5E-4D69-833B-37E08536214A}" destId="{7AA3C3BF-7366-4C82-8833-2DCCDBBFBA6C}" srcOrd="0" destOrd="0" presId="urn:microsoft.com/office/officeart/2005/8/layout/orgChart1"/>
    <dgm:cxn modelId="{F5C02887-38AD-4A00-B5D0-6805ABC12A2C}" type="presOf" srcId="{2536716E-9789-487C-BB4D-6AEC03913F78}" destId="{64E373CE-42B0-47C0-B6D5-3083549CC155}" srcOrd="0" destOrd="0" presId="urn:microsoft.com/office/officeart/2005/8/layout/orgChart1"/>
    <dgm:cxn modelId="{26D7E91E-E30E-4C5B-BA0E-3B18AADE0957}" type="presParOf" srcId="{2AC042F1-67EC-4815-A747-C27DA26D9618}" destId="{FB279467-F3D0-4A2A-9DFD-7DF66D00DCAB}" srcOrd="0" destOrd="0" presId="urn:microsoft.com/office/officeart/2005/8/layout/orgChart1"/>
    <dgm:cxn modelId="{35A1946D-8FBC-4DFE-A3B4-591986CD9C9A}" type="presParOf" srcId="{FB279467-F3D0-4A2A-9DFD-7DF66D00DCAB}" destId="{EA635651-E5EE-4B65-A430-C8E1B4EEAABF}" srcOrd="0" destOrd="0" presId="urn:microsoft.com/office/officeart/2005/8/layout/orgChart1"/>
    <dgm:cxn modelId="{8751D85E-6E81-4A2F-A9F7-1352CDC31CEA}" type="presParOf" srcId="{EA635651-E5EE-4B65-A430-C8E1B4EEAABF}" destId="{A9E37B58-C84D-4333-9EB6-FEA63F667BD6}" srcOrd="0" destOrd="0" presId="urn:microsoft.com/office/officeart/2005/8/layout/orgChart1"/>
    <dgm:cxn modelId="{08AC29FE-2241-491A-8B24-8EB5B9A3A831}" type="presParOf" srcId="{EA635651-E5EE-4B65-A430-C8E1B4EEAABF}" destId="{71995690-C90E-4D6E-B859-E011C699A051}" srcOrd="1" destOrd="0" presId="urn:microsoft.com/office/officeart/2005/8/layout/orgChart1"/>
    <dgm:cxn modelId="{A601C097-A7BA-4E44-914A-42242D755861}" type="presParOf" srcId="{FB279467-F3D0-4A2A-9DFD-7DF66D00DCAB}" destId="{066E69C0-C6CF-4B2F-9503-59BB14177765}" srcOrd="1" destOrd="0" presId="urn:microsoft.com/office/officeart/2005/8/layout/orgChart1"/>
    <dgm:cxn modelId="{A907A102-CCA4-4D5D-BAEC-5E7CFFF4BB17}" type="presParOf" srcId="{066E69C0-C6CF-4B2F-9503-59BB14177765}" destId="{DE7B0CDF-331C-43D7-B14C-4D2214ECC84C}" srcOrd="0" destOrd="0" presId="urn:microsoft.com/office/officeart/2005/8/layout/orgChart1"/>
    <dgm:cxn modelId="{36E9F92B-7D46-4A79-96DB-719CB3150ACF}" type="presParOf" srcId="{066E69C0-C6CF-4B2F-9503-59BB14177765}" destId="{E95E3131-A08A-43F9-AFEC-504F1171E205}" srcOrd="1" destOrd="0" presId="urn:microsoft.com/office/officeart/2005/8/layout/orgChart1"/>
    <dgm:cxn modelId="{57221E6D-A8FC-4496-A735-A0809ADEF477}" type="presParOf" srcId="{E95E3131-A08A-43F9-AFEC-504F1171E205}" destId="{EFC54E5C-7C6E-422C-87D3-57DFC09957EE}" srcOrd="0" destOrd="0" presId="urn:microsoft.com/office/officeart/2005/8/layout/orgChart1"/>
    <dgm:cxn modelId="{C82FF3DC-A492-42AC-944A-ADB3677AD799}" type="presParOf" srcId="{EFC54E5C-7C6E-422C-87D3-57DFC09957EE}" destId="{5C9EBB69-F299-433C-9832-400183B089DB}" srcOrd="0" destOrd="0" presId="urn:microsoft.com/office/officeart/2005/8/layout/orgChart1"/>
    <dgm:cxn modelId="{73B1BFA1-A490-4189-B1D9-49C4D788E041}" type="presParOf" srcId="{EFC54E5C-7C6E-422C-87D3-57DFC09957EE}" destId="{5658B9D7-A9F2-4897-B0C6-17D9C45E1BD9}" srcOrd="1" destOrd="0" presId="urn:microsoft.com/office/officeart/2005/8/layout/orgChart1"/>
    <dgm:cxn modelId="{FED48676-DA21-4A84-B00D-26E6DEF5863B}" type="presParOf" srcId="{E95E3131-A08A-43F9-AFEC-504F1171E205}" destId="{3920BFA3-AC5C-4424-ACD7-7E148C18359E}" srcOrd="1" destOrd="0" presId="urn:microsoft.com/office/officeart/2005/8/layout/orgChart1"/>
    <dgm:cxn modelId="{294D6061-354C-497B-AB63-7BA503202146}" type="presParOf" srcId="{3920BFA3-AC5C-4424-ACD7-7E148C18359E}" destId="{72ADB7DE-FFDE-43B9-98C0-716921DBE890}" srcOrd="0" destOrd="0" presId="urn:microsoft.com/office/officeart/2005/8/layout/orgChart1"/>
    <dgm:cxn modelId="{5F5D9478-9EC0-4059-AD78-BE5919014CFE}" type="presParOf" srcId="{3920BFA3-AC5C-4424-ACD7-7E148C18359E}" destId="{E8072A26-277D-405E-9401-0A1FDF34E5D4}" srcOrd="1" destOrd="0" presId="urn:microsoft.com/office/officeart/2005/8/layout/orgChart1"/>
    <dgm:cxn modelId="{94B0A7F7-64D7-4497-8F90-2BB0F2C74CEB}" type="presParOf" srcId="{E8072A26-277D-405E-9401-0A1FDF34E5D4}" destId="{27EF17A1-D922-409F-996E-C9E02B5875EB}" srcOrd="0" destOrd="0" presId="urn:microsoft.com/office/officeart/2005/8/layout/orgChart1"/>
    <dgm:cxn modelId="{6730BFD3-FA86-4F2F-A0B3-57D518A351DC}" type="presParOf" srcId="{27EF17A1-D922-409F-996E-C9E02B5875EB}" destId="{EC6C2DB6-0354-41F7-B81C-792F0FA9A4EE}" srcOrd="0" destOrd="0" presId="urn:microsoft.com/office/officeart/2005/8/layout/orgChart1"/>
    <dgm:cxn modelId="{96D02B74-AE64-4F54-A7ED-7B05AB160F2E}" type="presParOf" srcId="{27EF17A1-D922-409F-996E-C9E02B5875EB}" destId="{9F604B41-DE7E-407E-92F7-E7B8863509DE}" srcOrd="1" destOrd="0" presId="urn:microsoft.com/office/officeart/2005/8/layout/orgChart1"/>
    <dgm:cxn modelId="{33588801-D612-4001-97D5-F16510A2203F}" type="presParOf" srcId="{E8072A26-277D-405E-9401-0A1FDF34E5D4}" destId="{6B1B8A2D-6C96-402C-A168-3E6AD553B535}" srcOrd="1" destOrd="0" presId="urn:microsoft.com/office/officeart/2005/8/layout/orgChart1"/>
    <dgm:cxn modelId="{A9FCEB5E-6CC0-4037-A2AC-15E5E48928C6}" type="presParOf" srcId="{E8072A26-277D-405E-9401-0A1FDF34E5D4}" destId="{70FA8FA6-36C6-4FE0-B3C4-A8596AFC4EDF}" srcOrd="2" destOrd="0" presId="urn:microsoft.com/office/officeart/2005/8/layout/orgChart1"/>
    <dgm:cxn modelId="{EEA61DBE-8A8A-4879-BB91-96DF4CDC72C6}" type="presParOf" srcId="{3920BFA3-AC5C-4424-ACD7-7E148C18359E}" destId="{7AA3C3BF-7366-4C82-8833-2DCCDBBFBA6C}" srcOrd="2" destOrd="0" presId="urn:microsoft.com/office/officeart/2005/8/layout/orgChart1"/>
    <dgm:cxn modelId="{7F9E1D32-159B-4601-B5F8-1A8C6F47CC49}" type="presParOf" srcId="{3920BFA3-AC5C-4424-ACD7-7E148C18359E}" destId="{4DB7F4F7-B590-4810-AFCD-926FDA6D38D2}" srcOrd="3" destOrd="0" presId="urn:microsoft.com/office/officeart/2005/8/layout/orgChart1"/>
    <dgm:cxn modelId="{56AB7BCF-912C-4F27-9F50-C31F5C915A4F}" type="presParOf" srcId="{4DB7F4F7-B590-4810-AFCD-926FDA6D38D2}" destId="{F997AD31-44BF-407F-82C8-B18CE0D7FD2C}" srcOrd="0" destOrd="0" presId="urn:microsoft.com/office/officeart/2005/8/layout/orgChart1"/>
    <dgm:cxn modelId="{2EE2A0CE-42DB-40D1-8323-931C5987226B}" type="presParOf" srcId="{F997AD31-44BF-407F-82C8-B18CE0D7FD2C}" destId="{CF73B623-D36E-4A4E-8B66-62BC3E50EC0C}" srcOrd="0" destOrd="0" presId="urn:microsoft.com/office/officeart/2005/8/layout/orgChart1"/>
    <dgm:cxn modelId="{EA93CD01-58D3-4653-BFDB-55BD06EAE6DA}" type="presParOf" srcId="{F997AD31-44BF-407F-82C8-B18CE0D7FD2C}" destId="{8796C872-A8EA-4958-8B94-1C7ED8D2C1E3}" srcOrd="1" destOrd="0" presId="urn:microsoft.com/office/officeart/2005/8/layout/orgChart1"/>
    <dgm:cxn modelId="{BE8DCE01-5340-4A64-A42B-85CE6B709FC1}" type="presParOf" srcId="{4DB7F4F7-B590-4810-AFCD-926FDA6D38D2}" destId="{8247ED97-294F-4CED-A2D7-172130BF8306}" srcOrd="1" destOrd="0" presId="urn:microsoft.com/office/officeart/2005/8/layout/orgChart1"/>
    <dgm:cxn modelId="{3E86E73F-C22D-4AA7-8B0F-34F565821803}" type="presParOf" srcId="{4DB7F4F7-B590-4810-AFCD-926FDA6D38D2}" destId="{BD0FFB1E-CC85-40D5-9579-426945FCD951}" srcOrd="2" destOrd="0" presId="urn:microsoft.com/office/officeart/2005/8/layout/orgChart1"/>
    <dgm:cxn modelId="{84482634-FD99-4D9B-964B-08D31B6F05C6}" type="presParOf" srcId="{3920BFA3-AC5C-4424-ACD7-7E148C18359E}" destId="{64E373CE-42B0-47C0-B6D5-3083549CC155}" srcOrd="4" destOrd="0" presId="urn:microsoft.com/office/officeart/2005/8/layout/orgChart1"/>
    <dgm:cxn modelId="{59FC03E4-44A7-4591-B177-EF73186CAA4A}" type="presParOf" srcId="{3920BFA3-AC5C-4424-ACD7-7E148C18359E}" destId="{B2DE522B-C279-4F9A-8567-5E139FFF9E79}" srcOrd="5" destOrd="0" presId="urn:microsoft.com/office/officeart/2005/8/layout/orgChart1"/>
    <dgm:cxn modelId="{7F832664-5050-4D2B-9913-74C08C117E6A}" type="presParOf" srcId="{B2DE522B-C279-4F9A-8567-5E139FFF9E79}" destId="{D9C66C32-12B4-4491-ABA3-34335757DC65}" srcOrd="0" destOrd="0" presId="urn:microsoft.com/office/officeart/2005/8/layout/orgChart1"/>
    <dgm:cxn modelId="{6790D2AD-8EC8-43AB-B9E1-A6AA6CD19E3C}" type="presParOf" srcId="{D9C66C32-12B4-4491-ABA3-34335757DC65}" destId="{C91CBDDB-C61F-488B-86C6-4EEFDF3ED038}" srcOrd="0" destOrd="0" presId="urn:microsoft.com/office/officeart/2005/8/layout/orgChart1"/>
    <dgm:cxn modelId="{66251EA1-315E-4FCC-9868-438981DF266F}" type="presParOf" srcId="{D9C66C32-12B4-4491-ABA3-34335757DC65}" destId="{525B76B5-0D3D-477C-878E-708A48609BDE}" srcOrd="1" destOrd="0" presId="urn:microsoft.com/office/officeart/2005/8/layout/orgChart1"/>
    <dgm:cxn modelId="{27EA1254-A887-4C47-A779-8ECA2BE5E34E}" type="presParOf" srcId="{B2DE522B-C279-4F9A-8567-5E139FFF9E79}" destId="{1D24CB5B-0B33-42B2-BE9D-B19A07219F23}" srcOrd="1" destOrd="0" presId="urn:microsoft.com/office/officeart/2005/8/layout/orgChart1"/>
    <dgm:cxn modelId="{BF8A0DD2-A3FC-4925-BD66-3D0EBD510A34}" type="presParOf" srcId="{B2DE522B-C279-4F9A-8567-5E139FFF9E79}" destId="{DA442CD6-0426-4B98-A495-C55DA5A51AA4}" srcOrd="2" destOrd="0" presId="urn:microsoft.com/office/officeart/2005/8/layout/orgChart1"/>
    <dgm:cxn modelId="{BCAEA55D-FA55-4F61-B551-B2232606AA8F}" type="presParOf" srcId="{3920BFA3-AC5C-4424-ACD7-7E148C18359E}" destId="{074B3E2F-8466-4A4D-AA59-72F2C06F9895}" srcOrd="6" destOrd="0" presId="urn:microsoft.com/office/officeart/2005/8/layout/orgChart1"/>
    <dgm:cxn modelId="{91EC7670-5DB9-4546-9D39-C1C3A563A630}" type="presParOf" srcId="{3920BFA3-AC5C-4424-ACD7-7E148C18359E}" destId="{DF2F653D-344D-4FB8-9BFE-4632037A3E7B}" srcOrd="7" destOrd="0" presId="urn:microsoft.com/office/officeart/2005/8/layout/orgChart1"/>
    <dgm:cxn modelId="{5CC8661A-20BD-4782-9141-0154A72A71B9}" type="presParOf" srcId="{DF2F653D-344D-4FB8-9BFE-4632037A3E7B}" destId="{3B7E9630-24E8-4128-BFD5-188170612569}" srcOrd="0" destOrd="0" presId="urn:microsoft.com/office/officeart/2005/8/layout/orgChart1"/>
    <dgm:cxn modelId="{B366CF0F-8D59-4672-ABD5-A81BD391D1C4}" type="presParOf" srcId="{3B7E9630-24E8-4128-BFD5-188170612569}" destId="{4F5D1301-39C3-4858-B8EF-E38A066270C0}" srcOrd="0" destOrd="0" presId="urn:microsoft.com/office/officeart/2005/8/layout/orgChart1"/>
    <dgm:cxn modelId="{E4E31FD2-B2B7-446E-A0D9-22BE3CAD2DD7}" type="presParOf" srcId="{3B7E9630-24E8-4128-BFD5-188170612569}" destId="{12C49A15-D18B-47B3-9CA0-B40898F9CD50}" srcOrd="1" destOrd="0" presId="urn:microsoft.com/office/officeart/2005/8/layout/orgChart1"/>
    <dgm:cxn modelId="{0EA32A87-8CB9-4303-9B5D-8B094E43012D}" type="presParOf" srcId="{DF2F653D-344D-4FB8-9BFE-4632037A3E7B}" destId="{9C37565E-D11F-45BD-B816-20381F060AB1}" srcOrd="1" destOrd="0" presId="urn:microsoft.com/office/officeart/2005/8/layout/orgChart1"/>
    <dgm:cxn modelId="{91923551-DF7F-4069-934F-F734D132D05D}" type="presParOf" srcId="{DF2F653D-344D-4FB8-9BFE-4632037A3E7B}" destId="{9C5018E2-8307-4E3E-9044-45319D51FA9F}" srcOrd="2" destOrd="0" presId="urn:microsoft.com/office/officeart/2005/8/layout/orgChart1"/>
    <dgm:cxn modelId="{668D0340-E29F-443F-93A8-6A294D83C7D0}" type="presParOf" srcId="{3920BFA3-AC5C-4424-ACD7-7E148C18359E}" destId="{38F6A058-7E48-4D72-99DA-87A83BD6629F}" srcOrd="8" destOrd="0" presId="urn:microsoft.com/office/officeart/2005/8/layout/orgChart1"/>
    <dgm:cxn modelId="{726DCB13-3002-4078-9D45-ECD5087F1A91}" type="presParOf" srcId="{3920BFA3-AC5C-4424-ACD7-7E148C18359E}" destId="{D552FDEE-5469-4891-8FDB-8AD5896678B3}" srcOrd="9" destOrd="0" presId="urn:microsoft.com/office/officeart/2005/8/layout/orgChart1"/>
    <dgm:cxn modelId="{066AFFAD-6C88-43BF-A391-C1F53431763B}" type="presParOf" srcId="{D552FDEE-5469-4891-8FDB-8AD5896678B3}" destId="{EF6AA7E8-3D3B-43C8-89E5-4F4F5DFCF6B9}" srcOrd="0" destOrd="0" presId="urn:microsoft.com/office/officeart/2005/8/layout/orgChart1"/>
    <dgm:cxn modelId="{CE1B157C-10E5-4BA5-B9E2-D7E44B3CD5E9}" type="presParOf" srcId="{EF6AA7E8-3D3B-43C8-89E5-4F4F5DFCF6B9}" destId="{F2BD23BC-2E0A-441B-BE28-E14725F51793}" srcOrd="0" destOrd="0" presId="urn:microsoft.com/office/officeart/2005/8/layout/orgChart1"/>
    <dgm:cxn modelId="{80037F01-F431-4407-8EA0-9AD89A74F2BC}" type="presParOf" srcId="{EF6AA7E8-3D3B-43C8-89E5-4F4F5DFCF6B9}" destId="{96311BE1-6806-4936-A91A-7E842B15BE23}" srcOrd="1" destOrd="0" presId="urn:microsoft.com/office/officeart/2005/8/layout/orgChart1"/>
    <dgm:cxn modelId="{CE5B7612-0A53-46A3-B3D0-2A3928401582}" type="presParOf" srcId="{D552FDEE-5469-4891-8FDB-8AD5896678B3}" destId="{EFD1A3F8-F679-4BFE-A96D-BBA1B8F7E28E}" srcOrd="1" destOrd="0" presId="urn:microsoft.com/office/officeart/2005/8/layout/orgChart1"/>
    <dgm:cxn modelId="{5022974F-6BED-455E-BE18-96E071E1C527}" type="presParOf" srcId="{D552FDEE-5469-4891-8FDB-8AD5896678B3}" destId="{E1434C1B-93F4-4F85-BF3F-2674BA9F6695}" srcOrd="2" destOrd="0" presId="urn:microsoft.com/office/officeart/2005/8/layout/orgChart1"/>
    <dgm:cxn modelId="{148E90C0-3CFD-41E4-B3B2-CF32CBFFFA47}" type="presParOf" srcId="{3920BFA3-AC5C-4424-ACD7-7E148C18359E}" destId="{BDA0D309-749C-449A-8DB4-EAF8CCA3E67D}" srcOrd="10" destOrd="0" presId="urn:microsoft.com/office/officeart/2005/8/layout/orgChart1"/>
    <dgm:cxn modelId="{B7F8EF4B-52A2-44A2-96C2-6297139FCD45}" type="presParOf" srcId="{3920BFA3-AC5C-4424-ACD7-7E148C18359E}" destId="{887C9540-28D2-46DA-9258-D87AD3C70C71}" srcOrd="11" destOrd="0" presId="urn:microsoft.com/office/officeart/2005/8/layout/orgChart1"/>
    <dgm:cxn modelId="{80C227BE-A17F-48D5-9572-5414CFB6D3B6}" type="presParOf" srcId="{887C9540-28D2-46DA-9258-D87AD3C70C71}" destId="{DB86626F-20CE-47FA-8B7A-1062024CD376}" srcOrd="0" destOrd="0" presId="urn:microsoft.com/office/officeart/2005/8/layout/orgChart1"/>
    <dgm:cxn modelId="{EB972115-74EE-4226-AE90-55D84DAD26B8}" type="presParOf" srcId="{DB86626F-20CE-47FA-8B7A-1062024CD376}" destId="{B0363488-F9A3-4DD4-BCDF-D8D2C1C53362}" srcOrd="0" destOrd="0" presId="urn:microsoft.com/office/officeart/2005/8/layout/orgChart1"/>
    <dgm:cxn modelId="{31BCE37B-8E71-4BF3-8736-FFB8B0F3E13B}" type="presParOf" srcId="{DB86626F-20CE-47FA-8B7A-1062024CD376}" destId="{C5765A06-B728-4F1F-BEA5-C8B842B28AB3}" srcOrd="1" destOrd="0" presId="urn:microsoft.com/office/officeart/2005/8/layout/orgChart1"/>
    <dgm:cxn modelId="{620F4F14-C1BF-442B-A6D7-D45EE1AECF74}" type="presParOf" srcId="{887C9540-28D2-46DA-9258-D87AD3C70C71}" destId="{B419F9A7-6256-4C2F-878E-B82AE2CBC9A9}" srcOrd="1" destOrd="0" presId="urn:microsoft.com/office/officeart/2005/8/layout/orgChart1"/>
    <dgm:cxn modelId="{7CB074FC-1494-4A87-9D0D-B16FDC0ED571}" type="presParOf" srcId="{887C9540-28D2-46DA-9258-D87AD3C70C71}" destId="{141235EF-2547-4156-9A49-E8377A75F5CA}" srcOrd="2" destOrd="0" presId="urn:microsoft.com/office/officeart/2005/8/layout/orgChart1"/>
    <dgm:cxn modelId="{75678198-B8E6-486A-9B2D-6016C927E6BF}" type="presParOf" srcId="{E95E3131-A08A-43F9-AFEC-504F1171E205}" destId="{110B8CA0-C5B1-4088-832E-968B3904855E}" srcOrd="2" destOrd="0" presId="urn:microsoft.com/office/officeart/2005/8/layout/orgChart1"/>
    <dgm:cxn modelId="{770DA2CB-619C-4CAA-89FC-13A419E99AC0}" type="presParOf" srcId="{066E69C0-C6CF-4B2F-9503-59BB14177765}" destId="{A158FBDA-FE80-481D-A683-1087A6297DF7}" srcOrd="2" destOrd="0" presId="urn:microsoft.com/office/officeart/2005/8/layout/orgChart1"/>
    <dgm:cxn modelId="{1C31E7F5-41BB-4AD1-8940-D1AAA7836170}" type="presParOf" srcId="{066E69C0-C6CF-4B2F-9503-59BB14177765}" destId="{7B7F4A61-44AD-4660-A004-E01D74CB3993}" srcOrd="3" destOrd="0" presId="urn:microsoft.com/office/officeart/2005/8/layout/orgChart1"/>
    <dgm:cxn modelId="{53DD92BD-F7FE-4154-95D4-C204099E398E}" type="presParOf" srcId="{7B7F4A61-44AD-4660-A004-E01D74CB3993}" destId="{C1C1659C-40C8-4D06-88CD-8B4E382A7FA3}" srcOrd="0" destOrd="0" presId="urn:microsoft.com/office/officeart/2005/8/layout/orgChart1"/>
    <dgm:cxn modelId="{773A8A56-D11B-4ADF-B513-9A0E95FE8ECD}" type="presParOf" srcId="{C1C1659C-40C8-4D06-88CD-8B4E382A7FA3}" destId="{7D987F92-7D35-4143-98F0-7F550C1854D0}" srcOrd="0" destOrd="0" presId="urn:microsoft.com/office/officeart/2005/8/layout/orgChart1"/>
    <dgm:cxn modelId="{EDC29130-BB2C-4139-BD1E-E373DAE2CA38}" type="presParOf" srcId="{C1C1659C-40C8-4D06-88CD-8B4E382A7FA3}" destId="{00704EBE-B448-41C3-9648-6FB2DE06439D}" srcOrd="1" destOrd="0" presId="urn:microsoft.com/office/officeart/2005/8/layout/orgChart1"/>
    <dgm:cxn modelId="{17FE8EEE-E03E-4789-9D7B-DF55CAA33F29}" type="presParOf" srcId="{7B7F4A61-44AD-4660-A004-E01D74CB3993}" destId="{7EE343C9-968E-4784-8601-4A7959215DD1}" srcOrd="1" destOrd="0" presId="urn:microsoft.com/office/officeart/2005/8/layout/orgChart1"/>
    <dgm:cxn modelId="{F693B6C1-CE46-4A06-917F-8E50D0B259FF}" type="presParOf" srcId="{7EE343C9-968E-4784-8601-4A7959215DD1}" destId="{3B68F40B-CA34-4933-9B66-DF0F8E5E033E}" srcOrd="0" destOrd="0" presId="urn:microsoft.com/office/officeart/2005/8/layout/orgChart1"/>
    <dgm:cxn modelId="{13A71796-2DAC-44D3-AAEB-08CCFB7D492C}" type="presParOf" srcId="{7EE343C9-968E-4784-8601-4A7959215DD1}" destId="{F7CE9413-E7B2-4296-AD69-7C35B0B15EF1}" srcOrd="1" destOrd="0" presId="urn:microsoft.com/office/officeart/2005/8/layout/orgChart1"/>
    <dgm:cxn modelId="{F4409D8B-5D95-4763-A0FE-7B1376BA3D1E}" type="presParOf" srcId="{F7CE9413-E7B2-4296-AD69-7C35B0B15EF1}" destId="{F201A93C-E34C-4B21-9EB3-E70F0FDE64EC}" srcOrd="0" destOrd="0" presId="urn:microsoft.com/office/officeart/2005/8/layout/orgChart1"/>
    <dgm:cxn modelId="{2D0DB07F-10E3-41CF-8587-903DEB26287D}" type="presParOf" srcId="{F201A93C-E34C-4B21-9EB3-E70F0FDE64EC}" destId="{7DE978DE-FDD4-4585-A148-67512926481F}" srcOrd="0" destOrd="0" presId="urn:microsoft.com/office/officeart/2005/8/layout/orgChart1"/>
    <dgm:cxn modelId="{C8973CF9-E2CA-4E8B-BFC5-B8C394978FB8}" type="presParOf" srcId="{F201A93C-E34C-4B21-9EB3-E70F0FDE64EC}" destId="{F65783CD-FCF3-4364-BDAE-C6B8F35DE4E5}" srcOrd="1" destOrd="0" presId="urn:microsoft.com/office/officeart/2005/8/layout/orgChart1"/>
    <dgm:cxn modelId="{8CA134E0-2694-4D4C-8854-406401AE7829}" type="presParOf" srcId="{F7CE9413-E7B2-4296-AD69-7C35B0B15EF1}" destId="{19E12958-8C47-47DF-9D4B-00202CA3AC00}" srcOrd="1" destOrd="0" presId="urn:microsoft.com/office/officeart/2005/8/layout/orgChart1"/>
    <dgm:cxn modelId="{13C04A27-A4FA-406A-86A2-96296F6BE171}" type="presParOf" srcId="{F7CE9413-E7B2-4296-AD69-7C35B0B15EF1}" destId="{2FB37C22-08BF-421C-BB25-91D5B4FB4B03}" srcOrd="2" destOrd="0" presId="urn:microsoft.com/office/officeart/2005/8/layout/orgChart1"/>
    <dgm:cxn modelId="{156162F5-97CE-47A9-B843-8EEA50A758AD}" type="presParOf" srcId="{7EE343C9-968E-4784-8601-4A7959215DD1}" destId="{8126E7ED-1EFB-4DC7-B93C-A509EDCFECC6}" srcOrd="2" destOrd="0" presId="urn:microsoft.com/office/officeart/2005/8/layout/orgChart1"/>
    <dgm:cxn modelId="{256E936C-8A7A-4BDD-99DF-A064C99EB67A}" type="presParOf" srcId="{7EE343C9-968E-4784-8601-4A7959215DD1}" destId="{879F3A0E-9DF5-4202-BCBA-30E3FCFD090D}" srcOrd="3" destOrd="0" presId="urn:microsoft.com/office/officeart/2005/8/layout/orgChart1"/>
    <dgm:cxn modelId="{3C4DA8E4-074B-4735-B8DF-796F72D7E680}" type="presParOf" srcId="{879F3A0E-9DF5-4202-BCBA-30E3FCFD090D}" destId="{C7E92987-2404-49FE-AA7F-AA7B9DEEA283}" srcOrd="0" destOrd="0" presId="urn:microsoft.com/office/officeart/2005/8/layout/orgChart1"/>
    <dgm:cxn modelId="{CFBADE76-1911-4D5B-BF72-AA7950151D51}" type="presParOf" srcId="{C7E92987-2404-49FE-AA7F-AA7B9DEEA283}" destId="{95060CD5-E72B-43E3-AE00-28ED9DE85B01}" srcOrd="0" destOrd="0" presId="urn:microsoft.com/office/officeart/2005/8/layout/orgChart1"/>
    <dgm:cxn modelId="{DDB12014-B03E-4717-9F38-9A0A27F93FA9}" type="presParOf" srcId="{C7E92987-2404-49FE-AA7F-AA7B9DEEA283}" destId="{5A19E98F-0F3A-4E09-AB65-E5F1DA066601}" srcOrd="1" destOrd="0" presId="urn:microsoft.com/office/officeart/2005/8/layout/orgChart1"/>
    <dgm:cxn modelId="{4C2DACD6-306E-4C22-BA45-24A46A616D81}" type="presParOf" srcId="{879F3A0E-9DF5-4202-BCBA-30E3FCFD090D}" destId="{17E28009-57BA-4F44-B413-B50AF86DD419}" srcOrd="1" destOrd="0" presId="urn:microsoft.com/office/officeart/2005/8/layout/orgChart1"/>
    <dgm:cxn modelId="{2328117A-0348-475C-B0D6-0BD9F72A4611}" type="presParOf" srcId="{879F3A0E-9DF5-4202-BCBA-30E3FCFD090D}" destId="{6D691161-BE38-4537-8B7B-09BD6D376C0F}" srcOrd="2" destOrd="0" presId="urn:microsoft.com/office/officeart/2005/8/layout/orgChart1"/>
    <dgm:cxn modelId="{CD40C88E-63A6-432D-AE83-794559EB92DA}" type="presParOf" srcId="{7EE343C9-968E-4784-8601-4A7959215DD1}" destId="{D20E2316-F1C9-4B58-809C-37D7B49498A8}" srcOrd="4" destOrd="0" presId="urn:microsoft.com/office/officeart/2005/8/layout/orgChart1"/>
    <dgm:cxn modelId="{A8ED8038-0E11-437E-8039-C7926682BF6D}" type="presParOf" srcId="{7EE343C9-968E-4784-8601-4A7959215DD1}" destId="{FC97199B-5D92-4071-9C5C-7DDAEDABF62E}" srcOrd="5" destOrd="0" presId="urn:microsoft.com/office/officeart/2005/8/layout/orgChart1"/>
    <dgm:cxn modelId="{3AF46BAD-67FB-45E0-81B7-39E2C7695739}" type="presParOf" srcId="{FC97199B-5D92-4071-9C5C-7DDAEDABF62E}" destId="{C27AE854-62A4-43C0-B47B-0A4521318F22}" srcOrd="0" destOrd="0" presId="urn:microsoft.com/office/officeart/2005/8/layout/orgChart1"/>
    <dgm:cxn modelId="{6BA7418C-5BAB-4BEE-A5C8-BE4F885173EE}" type="presParOf" srcId="{C27AE854-62A4-43C0-B47B-0A4521318F22}" destId="{175ADE88-AD71-4BAF-A40D-557E80A72AF6}" srcOrd="0" destOrd="0" presId="urn:microsoft.com/office/officeart/2005/8/layout/orgChart1"/>
    <dgm:cxn modelId="{0B9EEF0E-3065-41E9-8237-0A6BEECA42D9}" type="presParOf" srcId="{C27AE854-62A4-43C0-B47B-0A4521318F22}" destId="{1FF9E9F1-4FED-413C-B9FB-C759F942D31F}" srcOrd="1" destOrd="0" presId="urn:microsoft.com/office/officeart/2005/8/layout/orgChart1"/>
    <dgm:cxn modelId="{F9213228-316C-4FC8-A650-9A3ADC6EDA81}" type="presParOf" srcId="{FC97199B-5D92-4071-9C5C-7DDAEDABF62E}" destId="{DC1C3B73-61A4-43AA-B6BF-592C31ECA3AF}" srcOrd="1" destOrd="0" presId="urn:microsoft.com/office/officeart/2005/8/layout/orgChart1"/>
    <dgm:cxn modelId="{D240CB25-327B-4660-B51D-A8F3CD747687}" type="presParOf" srcId="{FC97199B-5D92-4071-9C5C-7DDAEDABF62E}" destId="{2F56F056-C10F-42B0-BF5E-CED793AD7759}" srcOrd="2" destOrd="0" presId="urn:microsoft.com/office/officeart/2005/8/layout/orgChart1"/>
    <dgm:cxn modelId="{00F4C474-B093-48F6-BB67-A92CB95CFA05}" type="presParOf" srcId="{7EE343C9-968E-4784-8601-4A7959215DD1}" destId="{3C19CDE8-1619-435F-BE8B-2AB153E85879}" srcOrd="6" destOrd="0" presId="urn:microsoft.com/office/officeart/2005/8/layout/orgChart1"/>
    <dgm:cxn modelId="{1776059D-7557-42D0-A5CD-CEDC8047C56F}" type="presParOf" srcId="{7EE343C9-968E-4784-8601-4A7959215DD1}" destId="{9360F5D3-E8C2-4C55-9A2E-A0CE2572DDDC}" srcOrd="7" destOrd="0" presId="urn:microsoft.com/office/officeart/2005/8/layout/orgChart1"/>
    <dgm:cxn modelId="{4FB318AC-F524-404C-831C-3DCC9E212FD1}" type="presParOf" srcId="{9360F5D3-E8C2-4C55-9A2E-A0CE2572DDDC}" destId="{607D9AFC-CE42-42A1-9EB1-36930BE02CD5}" srcOrd="0" destOrd="0" presId="urn:microsoft.com/office/officeart/2005/8/layout/orgChart1"/>
    <dgm:cxn modelId="{28F4F73E-BEF4-4796-AD22-A0A39BDBC6BC}" type="presParOf" srcId="{607D9AFC-CE42-42A1-9EB1-36930BE02CD5}" destId="{356B3328-D764-40AC-8224-7C581170E4AA}" srcOrd="0" destOrd="0" presId="urn:microsoft.com/office/officeart/2005/8/layout/orgChart1"/>
    <dgm:cxn modelId="{6E4ACB53-0840-4E8B-B8C9-E329408BE776}" type="presParOf" srcId="{607D9AFC-CE42-42A1-9EB1-36930BE02CD5}" destId="{E93C2A34-A97C-4508-A88F-51D5DA31D8C2}" srcOrd="1" destOrd="0" presId="urn:microsoft.com/office/officeart/2005/8/layout/orgChart1"/>
    <dgm:cxn modelId="{43E3027C-C9AB-418F-9AD5-718732FD0116}" type="presParOf" srcId="{9360F5D3-E8C2-4C55-9A2E-A0CE2572DDDC}" destId="{7BA60B2C-7189-41FF-BFB8-C7874E6AC2DB}" srcOrd="1" destOrd="0" presId="urn:microsoft.com/office/officeart/2005/8/layout/orgChart1"/>
    <dgm:cxn modelId="{DD851214-2631-41EB-8B57-8237CDFD28D7}" type="presParOf" srcId="{9360F5D3-E8C2-4C55-9A2E-A0CE2572DDDC}" destId="{27D8EEAD-18A0-4425-A8E3-D7D26180ED33}" srcOrd="2" destOrd="0" presId="urn:microsoft.com/office/officeart/2005/8/layout/orgChart1"/>
    <dgm:cxn modelId="{7CF0AA30-8E79-4F03-89D4-700727B9D3F9}" type="presParOf" srcId="{7EE343C9-968E-4784-8601-4A7959215DD1}" destId="{BA812832-9151-4475-AEEE-997AAEA180DD}" srcOrd="8" destOrd="0" presId="urn:microsoft.com/office/officeart/2005/8/layout/orgChart1"/>
    <dgm:cxn modelId="{BBB1EE38-C916-4C88-A1D8-C5453F258181}" type="presParOf" srcId="{7EE343C9-968E-4784-8601-4A7959215DD1}" destId="{E9DD63BF-38AB-44F1-B73B-18EC62469DAE}" srcOrd="9" destOrd="0" presId="urn:microsoft.com/office/officeart/2005/8/layout/orgChart1"/>
    <dgm:cxn modelId="{B2C30F08-D1D4-4AEF-A194-4C4F7C94FC2C}" type="presParOf" srcId="{E9DD63BF-38AB-44F1-B73B-18EC62469DAE}" destId="{605226FA-7527-47A1-8279-238BCC889804}" srcOrd="0" destOrd="0" presId="urn:microsoft.com/office/officeart/2005/8/layout/orgChart1"/>
    <dgm:cxn modelId="{571A6754-4E53-4989-B867-2EF6DCD2000B}" type="presParOf" srcId="{605226FA-7527-47A1-8279-238BCC889804}" destId="{0E5ADF65-7528-4E6B-A814-7FD4CDCBAEB0}" srcOrd="0" destOrd="0" presId="urn:microsoft.com/office/officeart/2005/8/layout/orgChart1"/>
    <dgm:cxn modelId="{AA7C73A7-048B-4816-B524-DB39F870F466}" type="presParOf" srcId="{605226FA-7527-47A1-8279-238BCC889804}" destId="{C08C8186-7CE9-48AE-B41B-D881FD3C4D87}" srcOrd="1" destOrd="0" presId="urn:microsoft.com/office/officeart/2005/8/layout/orgChart1"/>
    <dgm:cxn modelId="{87BEBAA4-E703-4DB4-882A-D56C76E2FEBB}" type="presParOf" srcId="{E9DD63BF-38AB-44F1-B73B-18EC62469DAE}" destId="{E6017F6A-7607-44AA-9473-D5CDBDEDB0C7}" srcOrd="1" destOrd="0" presId="urn:microsoft.com/office/officeart/2005/8/layout/orgChart1"/>
    <dgm:cxn modelId="{3E461361-AC5A-4040-9594-FB50BD2276D9}" type="presParOf" srcId="{E9DD63BF-38AB-44F1-B73B-18EC62469DAE}" destId="{306A7944-FDCE-4D0C-AD95-EC9B74B2C481}" srcOrd="2" destOrd="0" presId="urn:microsoft.com/office/officeart/2005/8/layout/orgChart1"/>
    <dgm:cxn modelId="{2D34A0E9-2E2F-4943-9647-E2B1BCCA811A}" type="presParOf" srcId="{7EE343C9-968E-4784-8601-4A7959215DD1}" destId="{15BFC48D-BBC2-4AA7-84DF-E08D387E4BEE}" srcOrd="10" destOrd="0" presId="urn:microsoft.com/office/officeart/2005/8/layout/orgChart1"/>
    <dgm:cxn modelId="{C14DB260-D3F3-4197-87AB-E8C4408C055B}" type="presParOf" srcId="{7EE343C9-968E-4784-8601-4A7959215DD1}" destId="{F23DC6A7-5F16-4E38-86B1-CAA6CCFFD663}" srcOrd="11" destOrd="0" presId="urn:microsoft.com/office/officeart/2005/8/layout/orgChart1"/>
    <dgm:cxn modelId="{E8BB57D3-4C0B-4FF5-B5FE-0AC97CDBCB6C}" type="presParOf" srcId="{F23DC6A7-5F16-4E38-86B1-CAA6CCFFD663}" destId="{C7979B17-2652-45CB-BA3C-E7D7C2DAE869}" srcOrd="0" destOrd="0" presId="urn:microsoft.com/office/officeart/2005/8/layout/orgChart1"/>
    <dgm:cxn modelId="{85C1C331-4644-4882-9596-24659F97B55F}" type="presParOf" srcId="{C7979B17-2652-45CB-BA3C-E7D7C2DAE869}" destId="{F0F62E1F-8929-43B7-BB6A-F1C6E74066B2}" srcOrd="0" destOrd="0" presId="urn:microsoft.com/office/officeart/2005/8/layout/orgChart1"/>
    <dgm:cxn modelId="{EE42D759-A90A-4F5A-84D2-EDACDF209F65}" type="presParOf" srcId="{C7979B17-2652-45CB-BA3C-E7D7C2DAE869}" destId="{B2119018-1591-4A2B-916A-EAC928437B99}" srcOrd="1" destOrd="0" presId="urn:microsoft.com/office/officeart/2005/8/layout/orgChart1"/>
    <dgm:cxn modelId="{91A5564D-0596-41A9-B23F-263DBB663DB2}" type="presParOf" srcId="{F23DC6A7-5F16-4E38-86B1-CAA6CCFFD663}" destId="{986859C5-59D9-4CAA-95D8-8C726C6A14CD}" srcOrd="1" destOrd="0" presId="urn:microsoft.com/office/officeart/2005/8/layout/orgChart1"/>
    <dgm:cxn modelId="{A8A92B6A-A311-46DE-AA4B-B4EE3C7CB51F}" type="presParOf" srcId="{F23DC6A7-5F16-4E38-86B1-CAA6CCFFD663}" destId="{70C682E1-4958-4E6D-8D51-7120235B17E3}" srcOrd="2" destOrd="0" presId="urn:microsoft.com/office/officeart/2005/8/layout/orgChart1"/>
    <dgm:cxn modelId="{F4410663-B22F-428E-8C1F-634723D2277B}" type="presParOf" srcId="{7EE343C9-968E-4784-8601-4A7959215DD1}" destId="{D0A2B68C-81AE-484B-AA25-5AD1DD9964D7}" srcOrd="12" destOrd="0" presId="urn:microsoft.com/office/officeart/2005/8/layout/orgChart1"/>
    <dgm:cxn modelId="{E855EF78-8FCF-497A-85AC-5071FC9F15A3}" type="presParOf" srcId="{7EE343C9-968E-4784-8601-4A7959215DD1}" destId="{BCDE0529-E1B6-4338-9B92-2E52C2823B7C}" srcOrd="13" destOrd="0" presId="urn:microsoft.com/office/officeart/2005/8/layout/orgChart1"/>
    <dgm:cxn modelId="{6E5DDEAA-29BC-4296-B735-3C495C643CCD}" type="presParOf" srcId="{BCDE0529-E1B6-4338-9B92-2E52C2823B7C}" destId="{C54585F7-6C6B-40B1-81E8-9C201F432ACA}" srcOrd="0" destOrd="0" presId="urn:microsoft.com/office/officeart/2005/8/layout/orgChart1"/>
    <dgm:cxn modelId="{AB011F86-2AD3-4E7E-9002-49BB17B690C0}" type="presParOf" srcId="{C54585F7-6C6B-40B1-81E8-9C201F432ACA}" destId="{3AE77575-B618-4540-A5D3-713314C05524}" srcOrd="0" destOrd="0" presId="urn:microsoft.com/office/officeart/2005/8/layout/orgChart1"/>
    <dgm:cxn modelId="{0B8ABA8F-E188-445D-A504-5A8FFBFAEF93}" type="presParOf" srcId="{C54585F7-6C6B-40B1-81E8-9C201F432ACA}" destId="{0A7ECC2D-925A-4A5A-983B-44AA6F0DAF1D}" srcOrd="1" destOrd="0" presId="urn:microsoft.com/office/officeart/2005/8/layout/orgChart1"/>
    <dgm:cxn modelId="{862328F1-18AC-4F8A-A9B1-0C151755CAF6}" type="presParOf" srcId="{BCDE0529-E1B6-4338-9B92-2E52C2823B7C}" destId="{747F2C99-3DF1-4AC3-810F-11A9F9C64CC1}" srcOrd="1" destOrd="0" presId="urn:microsoft.com/office/officeart/2005/8/layout/orgChart1"/>
    <dgm:cxn modelId="{AC7A1DC4-3652-4B6F-ABD6-1BFC73C9CB42}" type="presParOf" srcId="{BCDE0529-E1B6-4338-9B92-2E52C2823B7C}" destId="{D8DEE09F-9284-4300-A08E-19A45A7D509D}" srcOrd="2" destOrd="0" presId="urn:microsoft.com/office/officeart/2005/8/layout/orgChart1"/>
    <dgm:cxn modelId="{F216C9B7-DA46-4DA0-917D-8412D9F7F780}" type="presParOf" srcId="{7B7F4A61-44AD-4660-A004-E01D74CB3993}" destId="{2A2C7B99-30D3-4786-A061-FD5978DD9CE9}" srcOrd="2" destOrd="0" presId="urn:microsoft.com/office/officeart/2005/8/layout/orgChart1"/>
    <dgm:cxn modelId="{9F143BA9-9583-42A5-9A76-A016A4403355}" type="presParOf" srcId="{066E69C0-C6CF-4B2F-9503-59BB14177765}" destId="{D0B2D542-C665-4A27-AB65-BE2D43E07D73}" srcOrd="4" destOrd="0" presId="urn:microsoft.com/office/officeart/2005/8/layout/orgChart1"/>
    <dgm:cxn modelId="{24F339B3-76CA-4A28-A5DC-CB2E5CA42FB5}" type="presParOf" srcId="{066E69C0-C6CF-4B2F-9503-59BB14177765}" destId="{D6D62EFD-97F2-4BA7-AB1A-C8F3824F81AD}" srcOrd="5" destOrd="0" presId="urn:microsoft.com/office/officeart/2005/8/layout/orgChart1"/>
    <dgm:cxn modelId="{B5988E46-9601-49D8-A062-B80325691175}" type="presParOf" srcId="{D6D62EFD-97F2-4BA7-AB1A-C8F3824F81AD}" destId="{A2F2327A-4FFD-42A9-BB8F-40200C5D7625}" srcOrd="0" destOrd="0" presId="urn:microsoft.com/office/officeart/2005/8/layout/orgChart1"/>
    <dgm:cxn modelId="{F13B064C-2E52-461B-A0C8-D4E13553E96A}" type="presParOf" srcId="{A2F2327A-4FFD-42A9-BB8F-40200C5D7625}" destId="{20A39BFD-AC94-4833-AAAF-948F81E52002}" srcOrd="0" destOrd="0" presId="urn:microsoft.com/office/officeart/2005/8/layout/orgChart1"/>
    <dgm:cxn modelId="{B794D29B-5EA4-4FFD-82FC-7E428EEB5B46}" type="presParOf" srcId="{A2F2327A-4FFD-42A9-BB8F-40200C5D7625}" destId="{0A4B7152-A5C0-4304-B702-BC0C52C9EC39}" srcOrd="1" destOrd="0" presId="urn:microsoft.com/office/officeart/2005/8/layout/orgChart1"/>
    <dgm:cxn modelId="{765DC51E-B1F1-4098-9F99-DF0F38A20B8D}" type="presParOf" srcId="{D6D62EFD-97F2-4BA7-AB1A-C8F3824F81AD}" destId="{6923F2DB-CFA1-43DA-B776-2F8B671228D5}" srcOrd="1" destOrd="0" presId="urn:microsoft.com/office/officeart/2005/8/layout/orgChart1"/>
    <dgm:cxn modelId="{012E7910-B3FE-4172-9368-CB7BDF52A3CB}" type="presParOf" srcId="{6923F2DB-CFA1-43DA-B776-2F8B671228D5}" destId="{9233F8A3-3DD8-405A-B709-2177E2199FEB}" srcOrd="0" destOrd="0" presId="urn:microsoft.com/office/officeart/2005/8/layout/orgChart1"/>
    <dgm:cxn modelId="{C82D5FB6-A92D-4536-A67F-545E547093FA}" type="presParOf" srcId="{6923F2DB-CFA1-43DA-B776-2F8B671228D5}" destId="{0B51C77E-E536-48AA-9BF2-E5CB156A28CD}" srcOrd="1" destOrd="0" presId="urn:microsoft.com/office/officeart/2005/8/layout/orgChart1"/>
    <dgm:cxn modelId="{E9F23A46-ED8B-4574-8B1C-C66EDB45CE27}" type="presParOf" srcId="{0B51C77E-E536-48AA-9BF2-E5CB156A28CD}" destId="{AB22C40B-D3AF-4475-9672-4D9A2F57941C}" srcOrd="0" destOrd="0" presId="urn:microsoft.com/office/officeart/2005/8/layout/orgChart1"/>
    <dgm:cxn modelId="{0EC3946B-A481-435C-A070-7D4DA32E4F9E}" type="presParOf" srcId="{AB22C40B-D3AF-4475-9672-4D9A2F57941C}" destId="{F0663EE5-7143-42B2-A6AE-F82AA7D88908}" srcOrd="0" destOrd="0" presId="urn:microsoft.com/office/officeart/2005/8/layout/orgChart1"/>
    <dgm:cxn modelId="{5EC67BA7-8939-4802-8477-3739E1FCA4B0}" type="presParOf" srcId="{AB22C40B-D3AF-4475-9672-4D9A2F57941C}" destId="{AE4351CA-69DC-4BA0-AB6C-9CE1DF3BD1D6}" srcOrd="1" destOrd="0" presId="urn:microsoft.com/office/officeart/2005/8/layout/orgChart1"/>
    <dgm:cxn modelId="{29FA37DE-C89C-41B5-ACF9-E9EEF6E56FFE}" type="presParOf" srcId="{0B51C77E-E536-48AA-9BF2-E5CB156A28CD}" destId="{35179876-1C2A-4A17-9895-CFA1E81D445B}" srcOrd="1" destOrd="0" presId="urn:microsoft.com/office/officeart/2005/8/layout/orgChart1"/>
    <dgm:cxn modelId="{67CAC2F2-F12D-4D5C-9772-C697EB399C5B}" type="presParOf" srcId="{0B51C77E-E536-48AA-9BF2-E5CB156A28CD}" destId="{E3DAD0CB-79FA-4AA7-979E-EFEEE2D28862}" srcOrd="2" destOrd="0" presId="urn:microsoft.com/office/officeart/2005/8/layout/orgChart1"/>
    <dgm:cxn modelId="{5AE8B575-94DF-43A2-ADEC-4C069455A15A}" type="presParOf" srcId="{6923F2DB-CFA1-43DA-B776-2F8B671228D5}" destId="{4292BEEF-ED59-4044-B99B-DC4347476C93}" srcOrd="2" destOrd="0" presId="urn:microsoft.com/office/officeart/2005/8/layout/orgChart1"/>
    <dgm:cxn modelId="{FE834795-B796-4814-8606-77BFA28588C2}" type="presParOf" srcId="{6923F2DB-CFA1-43DA-B776-2F8B671228D5}" destId="{EB1E0698-2238-417E-B4CC-925D422ADFD9}" srcOrd="3" destOrd="0" presId="urn:microsoft.com/office/officeart/2005/8/layout/orgChart1"/>
    <dgm:cxn modelId="{F8EE1BB0-7E2D-4BB2-9D9A-B7753FB37E0F}" type="presParOf" srcId="{EB1E0698-2238-417E-B4CC-925D422ADFD9}" destId="{D7895E98-490F-4AA4-8255-363F85B08485}" srcOrd="0" destOrd="0" presId="urn:microsoft.com/office/officeart/2005/8/layout/orgChart1"/>
    <dgm:cxn modelId="{B0C30AE7-EA5A-46A4-9064-B580742EAA59}" type="presParOf" srcId="{D7895E98-490F-4AA4-8255-363F85B08485}" destId="{679AFEB9-1304-4C46-92B9-D14908334993}" srcOrd="0" destOrd="0" presId="urn:microsoft.com/office/officeart/2005/8/layout/orgChart1"/>
    <dgm:cxn modelId="{0009DBA3-DA89-4ED4-9E04-0511359F3C08}" type="presParOf" srcId="{D7895E98-490F-4AA4-8255-363F85B08485}" destId="{AD7D63B9-7467-4870-AB99-425C675F3C72}" srcOrd="1" destOrd="0" presId="urn:microsoft.com/office/officeart/2005/8/layout/orgChart1"/>
    <dgm:cxn modelId="{85CDD180-5BFC-49DF-A751-8A7CA6CB3BBD}" type="presParOf" srcId="{EB1E0698-2238-417E-B4CC-925D422ADFD9}" destId="{977126EB-F25D-4C49-B98B-B68E1BD0D4BB}" srcOrd="1" destOrd="0" presId="urn:microsoft.com/office/officeart/2005/8/layout/orgChart1"/>
    <dgm:cxn modelId="{31BCC2E8-9EBA-4CD5-8BA3-A906F6EE40CC}" type="presParOf" srcId="{EB1E0698-2238-417E-B4CC-925D422ADFD9}" destId="{B2673B5A-D20B-433C-B67A-77654BAC3B88}" srcOrd="2" destOrd="0" presId="urn:microsoft.com/office/officeart/2005/8/layout/orgChart1"/>
    <dgm:cxn modelId="{9470DE38-ED92-495A-A22A-FF6FE1DFA583}" type="presParOf" srcId="{6923F2DB-CFA1-43DA-B776-2F8B671228D5}" destId="{B023BEAD-FFE1-4FE2-87DF-FBE8E5BE29A9}" srcOrd="4" destOrd="0" presId="urn:microsoft.com/office/officeart/2005/8/layout/orgChart1"/>
    <dgm:cxn modelId="{D8390A3A-8D40-4ED0-BA73-B0DCF86731B6}" type="presParOf" srcId="{6923F2DB-CFA1-43DA-B776-2F8B671228D5}" destId="{5476372D-2150-433E-B2AE-6BA5A6E9F1A9}" srcOrd="5" destOrd="0" presId="urn:microsoft.com/office/officeart/2005/8/layout/orgChart1"/>
    <dgm:cxn modelId="{E79D1133-D8C8-41AC-A9EE-4FD0133DAC78}" type="presParOf" srcId="{5476372D-2150-433E-B2AE-6BA5A6E9F1A9}" destId="{22333E98-19CF-433C-9D01-F001398BCC8F}" srcOrd="0" destOrd="0" presId="urn:microsoft.com/office/officeart/2005/8/layout/orgChart1"/>
    <dgm:cxn modelId="{CB8021F5-4D91-45C3-92BF-48F738B0A2CD}" type="presParOf" srcId="{22333E98-19CF-433C-9D01-F001398BCC8F}" destId="{F47BE956-BC37-4E68-8509-835266EF4509}" srcOrd="0" destOrd="0" presId="urn:microsoft.com/office/officeart/2005/8/layout/orgChart1"/>
    <dgm:cxn modelId="{58FA6354-6C34-4D10-86BF-3EABC640F833}" type="presParOf" srcId="{22333E98-19CF-433C-9D01-F001398BCC8F}" destId="{0061E253-07A5-4060-9D9C-063107019FC0}" srcOrd="1" destOrd="0" presId="urn:microsoft.com/office/officeart/2005/8/layout/orgChart1"/>
    <dgm:cxn modelId="{0E50559F-A07D-4CEC-BAFF-75B6B7EE87EE}" type="presParOf" srcId="{5476372D-2150-433E-B2AE-6BA5A6E9F1A9}" destId="{6A6FBDEC-98AE-4464-802A-117EA88E3B82}" srcOrd="1" destOrd="0" presId="urn:microsoft.com/office/officeart/2005/8/layout/orgChart1"/>
    <dgm:cxn modelId="{DE0403A3-9703-4B9A-B542-862E7F4DADCD}" type="presParOf" srcId="{5476372D-2150-433E-B2AE-6BA5A6E9F1A9}" destId="{EAFC9707-615E-4A38-811E-4449FC86631C}" srcOrd="2" destOrd="0" presId="urn:microsoft.com/office/officeart/2005/8/layout/orgChart1"/>
    <dgm:cxn modelId="{149BB214-0152-448E-A143-70BC1CBB3B30}" type="presParOf" srcId="{D6D62EFD-97F2-4BA7-AB1A-C8F3824F81AD}" destId="{909A163B-528C-4467-82CA-CD38902FAE5A}" srcOrd="2" destOrd="0" presId="urn:microsoft.com/office/officeart/2005/8/layout/orgChart1"/>
    <dgm:cxn modelId="{CBF2DAE2-24BF-4157-821D-F02CF5E0B969}" type="presParOf" srcId="{066E69C0-C6CF-4B2F-9503-59BB14177765}" destId="{D08577E6-9F61-4368-8C6C-6BFE825C8CCF}" srcOrd="6" destOrd="0" presId="urn:microsoft.com/office/officeart/2005/8/layout/orgChart1"/>
    <dgm:cxn modelId="{197AE6BD-93E6-47DB-9BAA-A8F5FA749AA7}" type="presParOf" srcId="{066E69C0-C6CF-4B2F-9503-59BB14177765}" destId="{83DAE4F7-D3DA-498F-A827-D7EA16288892}" srcOrd="7" destOrd="0" presId="urn:microsoft.com/office/officeart/2005/8/layout/orgChart1"/>
    <dgm:cxn modelId="{E8A80611-0195-4060-96AE-5DE9E55A67A0}" type="presParOf" srcId="{83DAE4F7-D3DA-498F-A827-D7EA16288892}" destId="{BB502853-2436-4E23-A179-9E0EE716BF8C}" srcOrd="0" destOrd="0" presId="urn:microsoft.com/office/officeart/2005/8/layout/orgChart1"/>
    <dgm:cxn modelId="{548E24AF-DAAA-48B4-B529-A144D4EC4F84}" type="presParOf" srcId="{BB502853-2436-4E23-A179-9E0EE716BF8C}" destId="{82EB6CB6-BC4E-4D4C-A10D-B3680BF7A7D2}" srcOrd="0" destOrd="0" presId="urn:microsoft.com/office/officeart/2005/8/layout/orgChart1"/>
    <dgm:cxn modelId="{F9386AAB-6B7D-43C5-9F26-57DD943EC348}" type="presParOf" srcId="{BB502853-2436-4E23-A179-9E0EE716BF8C}" destId="{3529AC6F-214E-4BA5-9ABF-2AAB4904DB2A}" srcOrd="1" destOrd="0" presId="urn:microsoft.com/office/officeart/2005/8/layout/orgChart1"/>
    <dgm:cxn modelId="{0B08FF8F-77EA-4891-84C8-DA56D86297D8}" type="presParOf" srcId="{83DAE4F7-D3DA-498F-A827-D7EA16288892}" destId="{680C4AC6-7203-4B1B-9601-B803D3048B23}" srcOrd="1" destOrd="0" presId="urn:microsoft.com/office/officeart/2005/8/layout/orgChart1"/>
    <dgm:cxn modelId="{E51249AA-E70E-4D4B-A250-163FA40C34B5}" type="presParOf" srcId="{680C4AC6-7203-4B1B-9601-B803D3048B23}" destId="{3DC3783D-00DF-4D73-BC7D-A41DFB3A67B6}" srcOrd="0" destOrd="0" presId="urn:microsoft.com/office/officeart/2005/8/layout/orgChart1"/>
    <dgm:cxn modelId="{18717691-8D13-4F2A-9FDF-67D2EB4993D8}" type="presParOf" srcId="{680C4AC6-7203-4B1B-9601-B803D3048B23}" destId="{60C8AFC8-C4AD-4B04-91D4-A5B5C090D367}" srcOrd="1" destOrd="0" presId="urn:microsoft.com/office/officeart/2005/8/layout/orgChart1"/>
    <dgm:cxn modelId="{4CF87017-00E5-4ACC-B966-73E24E93F578}" type="presParOf" srcId="{60C8AFC8-C4AD-4B04-91D4-A5B5C090D367}" destId="{B486CE47-7DD5-48BF-8D75-E540029EE6CA}" srcOrd="0" destOrd="0" presId="urn:microsoft.com/office/officeart/2005/8/layout/orgChart1"/>
    <dgm:cxn modelId="{31C77B3C-E23B-43F0-B8C8-8BC36374FFE1}" type="presParOf" srcId="{B486CE47-7DD5-48BF-8D75-E540029EE6CA}" destId="{0750D890-C529-4565-BAB3-D4A4004C9728}" srcOrd="0" destOrd="0" presId="urn:microsoft.com/office/officeart/2005/8/layout/orgChart1"/>
    <dgm:cxn modelId="{3D54B561-7F25-4DD9-83A4-FADB95CDEC5D}" type="presParOf" srcId="{B486CE47-7DD5-48BF-8D75-E540029EE6CA}" destId="{53D8C03D-8A58-4E09-A501-D19238429C1F}" srcOrd="1" destOrd="0" presId="urn:microsoft.com/office/officeart/2005/8/layout/orgChart1"/>
    <dgm:cxn modelId="{B06AF452-1FCA-4C5C-91A1-47360A290238}" type="presParOf" srcId="{60C8AFC8-C4AD-4B04-91D4-A5B5C090D367}" destId="{9C4339F7-3EFD-4F3B-A986-8D230CE96470}" srcOrd="1" destOrd="0" presId="urn:microsoft.com/office/officeart/2005/8/layout/orgChart1"/>
    <dgm:cxn modelId="{EDB8C154-3AB8-4E38-831D-AB511ABB7994}" type="presParOf" srcId="{60C8AFC8-C4AD-4B04-91D4-A5B5C090D367}" destId="{6841046C-A373-43FC-AD58-F587E8686F44}" srcOrd="2" destOrd="0" presId="urn:microsoft.com/office/officeart/2005/8/layout/orgChart1"/>
    <dgm:cxn modelId="{4E220C37-0E53-41AF-AB6A-ABB82830ABF7}" type="presParOf" srcId="{680C4AC6-7203-4B1B-9601-B803D3048B23}" destId="{1B9B1158-72D8-4646-84DD-EF716B116A0C}" srcOrd="2" destOrd="0" presId="urn:microsoft.com/office/officeart/2005/8/layout/orgChart1"/>
    <dgm:cxn modelId="{D5E6BCB5-C637-4931-A5D3-383DE44BE0FE}" type="presParOf" srcId="{680C4AC6-7203-4B1B-9601-B803D3048B23}" destId="{91134C7B-6308-40CC-8BCC-21F895B27679}" srcOrd="3" destOrd="0" presId="urn:microsoft.com/office/officeart/2005/8/layout/orgChart1"/>
    <dgm:cxn modelId="{639289B6-BCBB-4C6A-8BB6-030F80468394}" type="presParOf" srcId="{91134C7B-6308-40CC-8BCC-21F895B27679}" destId="{907D4FED-0B85-4459-B11D-7880BF19FE84}" srcOrd="0" destOrd="0" presId="urn:microsoft.com/office/officeart/2005/8/layout/orgChart1"/>
    <dgm:cxn modelId="{7E43D251-B6B0-4C9A-9870-484B672827BC}" type="presParOf" srcId="{907D4FED-0B85-4459-B11D-7880BF19FE84}" destId="{6B26C1DA-C267-4CEE-A825-2498CB5CCDE4}" srcOrd="0" destOrd="0" presId="urn:microsoft.com/office/officeart/2005/8/layout/orgChart1"/>
    <dgm:cxn modelId="{477CB550-8D00-4CEE-B8D6-2160D18C1DB2}" type="presParOf" srcId="{907D4FED-0B85-4459-B11D-7880BF19FE84}" destId="{4DC09D01-8663-4654-AAA6-5B039AD072A1}" srcOrd="1" destOrd="0" presId="urn:microsoft.com/office/officeart/2005/8/layout/orgChart1"/>
    <dgm:cxn modelId="{5B0D26B2-EE6B-420D-B47C-4BB5CF312B55}" type="presParOf" srcId="{91134C7B-6308-40CC-8BCC-21F895B27679}" destId="{6D4C8EFB-9A63-4D1C-B48D-76E9CCC91125}" srcOrd="1" destOrd="0" presId="urn:microsoft.com/office/officeart/2005/8/layout/orgChart1"/>
    <dgm:cxn modelId="{D761859F-A799-49CC-B95E-CCA8CBAC152A}" type="presParOf" srcId="{91134C7B-6308-40CC-8BCC-21F895B27679}" destId="{62F18575-2872-43AF-B296-AD9C83EBCE51}" srcOrd="2" destOrd="0" presId="urn:microsoft.com/office/officeart/2005/8/layout/orgChart1"/>
    <dgm:cxn modelId="{DE65918B-4EDC-4D57-BF55-6E2857FB8889}" type="presParOf" srcId="{680C4AC6-7203-4B1B-9601-B803D3048B23}" destId="{07B10B61-0933-49D5-9F06-7E2744C55194}" srcOrd="4" destOrd="0" presId="urn:microsoft.com/office/officeart/2005/8/layout/orgChart1"/>
    <dgm:cxn modelId="{C65F5780-EE19-40AD-BD31-86DE0420FE86}" type="presParOf" srcId="{680C4AC6-7203-4B1B-9601-B803D3048B23}" destId="{B7B6B13A-B466-44A7-9373-F20080332702}" srcOrd="5" destOrd="0" presId="urn:microsoft.com/office/officeart/2005/8/layout/orgChart1"/>
    <dgm:cxn modelId="{05A9C07A-7AE1-4168-B378-BDCC148DF2B4}" type="presParOf" srcId="{B7B6B13A-B466-44A7-9373-F20080332702}" destId="{8DD64E20-1315-4B75-8660-B8B28B286A90}" srcOrd="0" destOrd="0" presId="urn:microsoft.com/office/officeart/2005/8/layout/orgChart1"/>
    <dgm:cxn modelId="{BCFD3E9D-FAD2-4B32-9D4D-E70E284E1160}" type="presParOf" srcId="{8DD64E20-1315-4B75-8660-B8B28B286A90}" destId="{9E15D32B-A159-4B43-91E5-E167856E33BF}" srcOrd="0" destOrd="0" presId="urn:microsoft.com/office/officeart/2005/8/layout/orgChart1"/>
    <dgm:cxn modelId="{2FBE88A5-24D5-4BA5-9978-7760B177ECDB}" type="presParOf" srcId="{8DD64E20-1315-4B75-8660-B8B28B286A90}" destId="{445AE659-5C5A-488F-9D84-8716842FB809}" srcOrd="1" destOrd="0" presId="urn:microsoft.com/office/officeart/2005/8/layout/orgChart1"/>
    <dgm:cxn modelId="{72381CB4-62FF-4F5B-BD24-819C68915C41}" type="presParOf" srcId="{B7B6B13A-B466-44A7-9373-F20080332702}" destId="{30005633-7034-4DF5-8FA8-E6150C3C532A}" srcOrd="1" destOrd="0" presId="urn:microsoft.com/office/officeart/2005/8/layout/orgChart1"/>
    <dgm:cxn modelId="{623B26BB-00A8-41D6-B5B6-7849012877AF}" type="presParOf" srcId="{B7B6B13A-B466-44A7-9373-F20080332702}" destId="{D37E5529-BA5A-40ED-9DF4-F763BEE0B11E}" srcOrd="2" destOrd="0" presId="urn:microsoft.com/office/officeart/2005/8/layout/orgChart1"/>
    <dgm:cxn modelId="{9912A5D4-A764-4B14-BE1B-AD390343A766}" type="presParOf" srcId="{83DAE4F7-D3DA-498F-A827-D7EA16288892}" destId="{A8C59E33-8BD9-4E59-8FBA-3889B6B99033}" srcOrd="2" destOrd="0" presId="urn:microsoft.com/office/officeart/2005/8/layout/orgChart1"/>
    <dgm:cxn modelId="{E639E617-51F5-4390-8C2A-A44D5770CDF6}" type="presParOf" srcId="{066E69C0-C6CF-4B2F-9503-59BB14177765}" destId="{76881711-8B76-4157-8371-D2A005E257D7}" srcOrd="8" destOrd="0" presId="urn:microsoft.com/office/officeart/2005/8/layout/orgChart1"/>
    <dgm:cxn modelId="{A3CCAE6A-5C70-41F6-9B11-B9AD1E2CBEE6}" type="presParOf" srcId="{066E69C0-C6CF-4B2F-9503-59BB14177765}" destId="{B016AF52-EF24-48EA-B883-B7A6EEBD317C}" srcOrd="9" destOrd="0" presId="urn:microsoft.com/office/officeart/2005/8/layout/orgChart1"/>
    <dgm:cxn modelId="{2FCF1B51-94DC-4E52-BEF9-8E5FE48452D3}" type="presParOf" srcId="{B016AF52-EF24-48EA-B883-B7A6EEBD317C}" destId="{7B1C4C30-4B36-4C3F-9AEE-26CC76DCF16A}" srcOrd="0" destOrd="0" presId="urn:microsoft.com/office/officeart/2005/8/layout/orgChart1"/>
    <dgm:cxn modelId="{ADAF772C-CB9E-42B8-B75B-98F31B1816EF}" type="presParOf" srcId="{7B1C4C30-4B36-4C3F-9AEE-26CC76DCF16A}" destId="{C9A66C12-5161-47AC-809C-85074A4E7350}" srcOrd="0" destOrd="0" presId="urn:microsoft.com/office/officeart/2005/8/layout/orgChart1"/>
    <dgm:cxn modelId="{02A4FCC6-1F0C-469F-AD2B-42908200BBCD}" type="presParOf" srcId="{7B1C4C30-4B36-4C3F-9AEE-26CC76DCF16A}" destId="{1E0CCDDD-DA94-48AA-9AF2-605E42E813DB}" srcOrd="1" destOrd="0" presId="urn:microsoft.com/office/officeart/2005/8/layout/orgChart1"/>
    <dgm:cxn modelId="{7A69A27F-E6A0-40AF-BA8D-EDE822B24F6E}" type="presParOf" srcId="{B016AF52-EF24-48EA-B883-B7A6EEBD317C}" destId="{0D2FB71C-9870-4800-99B8-E9BCED327B60}" srcOrd="1" destOrd="0" presId="urn:microsoft.com/office/officeart/2005/8/layout/orgChart1"/>
    <dgm:cxn modelId="{DA9BCF18-82D8-402C-BBE4-D1DF84D2A364}" type="presParOf" srcId="{0D2FB71C-9870-4800-99B8-E9BCED327B60}" destId="{E969B95B-BF5F-4C79-8B06-7BB350822E73}" srcOrd="0" destOrd="0" presId="urn:microsoft.com/office/officeart/2005/8/layout/orgChart1"/>
    <dgm:cxn modelId="{C913867D-D494-4D7F-85E9-7485EEFD8EF7}" type="presParOf" srcId="{0D2FB71C-9870-4800-99B8-E9BCED327B60}" destId="{E4E41682-C694-4778-9E28-FB0026AF1386}" srcOrd="1" destOrd="0" presId="urn:microsoft.com/office/officeart/2005/8/layout/orgChart1"/>
    <dgm:cxn modelId="{04E836FB-60A6-4339-91C5-A48BCB63AA1A}" type="presParOf" srcId="{E4E41682-C694-4778-9E28-FB0026AF1386}" destId="{6A851532-5B0C-4B9B-9ECB-B4597A40A85E}" srcOrd="0" destOrd="0" presId="urn:microsoft.com/office/officeart/2005/8/layout/orgChart1"/>
    <dgm:cxn modelId="{64BA0741-441F-40EE-8D7E-6BD3A48BAD5F}" type="presParOf" srcId="{6A851532-5B0C-4B9B-9ECB-B4597A40A85E}" destId="{C6932264-56D3-4DF9-8D2C-021A743567DD}" srcOrd="0" destOrd="0" presId="urn:microsoft.com/office/officeart/2005/8/layout/orgChart1"/>
    <dgm:cxn modelId="{73ADB5FF-69D0-4B44-83F9-1459BB4F0E03}" type="presParOf" srcId="{6A851532-5B0C-4B9B-9ECB-B4597A40A85E}" destId="{DD9CCF90-B2E3-4925-9055-02B847306E59}" srcOrd="1" destOrd="0" presId="urn:microsoft.com/office/officeart/2005/8/layout/orgChart1"/>
    <dgm:cxn modelId="{6B9CFA39-D07F-4364-BD40-E5EC9CE672D9}" type="presParOf" srcId="{E4E41682-C694-4778-9E28-FB0026AF1386}" destId="{9C95F66F-D879-42DF-941B-74DE22032C94}" srcOrd="1" destOrd="0" presId="urn:microsoft.com/office/officeart/2005/8/layout/orgChart1"/>
    <dgm:cxn modelId="{95A81473-C37C-4CE5-A6EC-FBD32C4FF5D6}" type="presParOf" srcId="{E4E41682-C694-4778-9E28-FB0026AF1386}" destId="{4AFB5385-10EC-475F-B2F8-B6CCD7D7E4D2}" srcOrd="2" destOrd="0" presId="urn:microsoft.com/office/officeart/2005/8/layout/orgChart1"/>
    <dgm:cxn modelId="{1D7AC840-36AA-462A-8845-A31DBEAFD3F6}" type="presParOf" srcId="{0D2FB71C-9870-4800-99B8-E9BCED327B60}" destId="{30D36E63-1B7A-4999-B032-672C2B5B93C8}" srcOrd="2" destOrd="0" presId="urn:microsoft.com/office/officeart/2005/8/layout/orgChart1"/>
    <dgm:cxn modelId="{468940DC-14BB-4798-86D7-E440F5313072}" type="presParOf" srcId="{0D2FB71C-9870-4800-99B8-E9BCED327B60}" destId="{3A929C0E-81FB-4E7A-BE59-62AB48FCBF88}" srcOrd="3" destOrd="0" presId="urn:microsoft.com/office/officeart/2005/8/layout/orgChart1"/>
    <dgm:cxn modelId="{8F60EC03-087A-4B43-8313-8BF28C7B46D2}" type="presParOf" srcId="{3A929C0E-81FB-4E7A-BE59-62AB48FCBF88}" destId="{010BE033-EC63-4A67-B243-9D80E2AA578A}" srcOrd="0" destOrd="0" presId="urn:microsoft.com/office/officeart/2005/8/layout/orgChart1"/>
    <dgm:cxn modelId="{13524586-54AB-4B35-AFDC-AC68603176FA}" type="presParOf" srcId="{010BE033-EC63-4A67-B243-9D80E2AA578A}" destId="{699B182D-F671-424A-9A63-23C7C7B4D8F7}" srcOrd="0" destOrd="0" presId="urn:microsoft.com/office/officeart/2005/8/layout/orgChart1"/>
    <dgm:cxn modelId="{C826973B-3D9D-4721-AE17-6613F2469CC1}" type="presParOf" srcId="{010BE033-EC63-4A67-B243-9D80E2AA578A}" destId="{4803F6AC-2159-4596-8F72-02FB462BBC70}" srcOrd="1" destOrd="0" presId="urn:microsoft.com/office/officeart/2005/8/layout/orgChart1"/>
    <dgm:cxn modelId="{B2D89B83-F17C-4FE2-9BC6-C9489110C817}" type="presParOf" srcId="{3A929C0E-81FB-4E7A-BE59-62AB48FCBF88}" destId="{86B10551-3A3E-41F6-A685-E06E17DB6929}" srcOrd="1" destOrd="0" presId="urn:microsoft.com/office/officeart/2005/8/layout/orgChart1"/>
    <dgm:cxn modelId="{B17947EA-8BCC-4BC3-BC1B-521B57E8AF7F}" type="presParOf" srcId="{3A929C0E-81FB-4E7A-BE59-62AB48FCBF88}" destId="{209ADEF1-73DF-445E-821E-111D0C0ECE48}" srcOrd="2" destOrd="0" presId="urn:microsoft.com/office/officeart/2005/8/layout/orgChart1"/>
    <dgm:cxn modelId="{3708B876-396C-42FA-80BA-B2F8E69D45A8}" type="presParOf" srcId="{0D2FB71C-9870-4800-99B8-E9BCED327B60}" destId="{0513B296-BBE7-4146-9B5C-663C91C280DB}" srcOrd="4" destOrd="0" presId="urn:microsoft.com/office/officeart/2005/8/layout/orgChart1"/>
    <dgm:cxn modelId="{F47C78E2-0CFB-4F22-B7B1-A1B5D0D62A4D}" type="presParOf" srcId="{0D2FB71C-9870-4800-99B8-E9BCED327B60}" destId="{B8858D5F-7F88-42D1-9217-E0B98A94FD47}" srcOrd="5" destOrd="0" presId="urn:microsoft.com/office/officeart/2005/8/layout/orgChart1"/>
    <dgm:cxn modelId="{1D77CBF3-4857-49E1-A200-2B1EBBF1B68A}" type="presParOf" srcId="{B8858D5F-7F88-42D1-9217-E0B98A94FD47}" destId="{24AEDB05-C598-4D63-A24B-484993FF08B2}" srcOrd="0" destOrd="0" presId="urn:microsoft.com/office/officeart/2005/8/layout/orgChart1"/>
    <dgm:cxn modelId="{303B02F5-FEBE-4471-AE52-46853DEEC506}" type="presParOf" srcId="{24AEDB05-C598-4D63-A24B-484993FF08B2}" destId="{F470B49C-FBB9-45ED-A78A-B1F71A6D76AD}" srcOrd="0" destOrd="0" presId="urn:microsoft.com/office/officeart/2005/8/layout/orgChart1"/>
    <dgm:cxn modelId="{4466F80D-B65E-4D10-8B1D-85C3D841E4B6}" type="presParOf" srcId="{24AEDB05-C598-4D63-A24B-484993FF08B2}" destId="{81388B3A-C50A-4FAA-BF40-8230A03C9B9A}" srcOrd="1" destOrd="0" presId="urn:microsoft.com/office/officeart/2005/8/layout/orgChart1"/>
    <dgm:cxn modelId="{4C34C8BB-C01F-4063-BB94-53CC86EFA4A4}" type="presParOf" srcId="{B8858D5F-7F88-42D1-9217-E0B98A94FD47}" destId="{CB51F144-535B-4F4B-BBE8-2C80F6F7F0F9}" srcOrd="1" destOrd="0" presId="urn:microsoft.com/office/officeart/2005/8/layout/orgChart1"/>
    <dgm:cxn modelId="{63088EF3-D00A-4D5D-AC71-A745B63F7B7B}" type="presParOf" srcId="{B8858D5F-7F88-42D1-9217-E0B98A94FD47}" destId="{259FE6F9-A254-4881-B500-D9A71E5D65D2}" srcOrd="2" destOrd="0" presId="urn:microsoft.com/office/officeart/2005/8/layout/orgChart1"/>
    <dgm:cxn modelId="{FC64F864-044C-404C-A9F6-362B1441F911}" type="presParOf" srcId="{0D2FB71C-9870-4800-99B8-E9BCED327B60}" destId="{47F1120A-A083-49E8-9E5C-CE1F6413F9BB}" srcOrd="6" destOrd="0" presId="urn:microsoft.com/office/officeart/2005/8/layout/orgChart1"/>
    <dgm:cxn modelId="{7CD9C1E6-4654-478D-8156-05983F6C8388}" type="presParOf" srcId="{0D2FB71C-9870-4800-99B8-E9BCED327B60}" destId="{59794096-81C7-41A7-8BC8-A5D7F3FC85FE}" srcOrd="7" destOrd="0" presId="urn:microsoft.com/office/officeart/2005/8/layout/orgChart1"/>
    <dgm:cxn modelId="{24DD9B53-BDD6-4CF7-A17E-00273F449AEA}" type="presParOf" srcId="{59794096-81C7-41A7-8BC8-A5D7F3FC85FE}" destId="{22EBDFD3-E422-4965-BF60-7CDD7822315D}" srcOrd="0" destOrd="0" presId="urn:microsoft.com/office/officeart/2005/8/layout/orgChart1"/>
    <dgm:cxn modelId="{6A5BC9AE-478A-42D3-853E-14BB311FFC54}" type="presParOf" srcId="{22EBDFD3-E422-4965-BF60-7CDD7822315D}" destId="{20731877-7187-429D-B3A8-7DECDA5070FE}" srcOrd="0" destOrd="0" presId="urn:microsoft.com/office/officeart/2005/8/layout/orgChart1"/>
    <dgm:cxn modelId="{C3F10DBF-833E-4133-AB2F-84CDE8E20C73}" type="presParOf" srcId="{22EBDFD3-E422-4965-BF60-7CDD7822315D}" destId="{B64ED020-C463-49FF-8094-016150B2A60C}" srcOrd="1" destOrd="0" presId="urn:microsoft.com/office/officeart/2005/8/layout/orgChart1"/>
    <dgm:cxn modelId="{66BCA100-A9F7-43DA-8F1A-FE97C80945CA}" type="presParOf" srcId="{59794096-81C7-41A7-8BC8-A5D7F3FC85FE}" destId="{EA9BAB9B-5E77-475B-AE9C-0CBD4E07AB33}" srcOrd="1" destOrd="0" presId="urn:microsoft.com/office/officeart/2005/8/layout/orgChart1"/>
    <dgm:cxn modelId="{BD6A4CCB-3CFF-4A94-97B2-5E8F0E71201A}" type="presParOf" srcId="{59794096-81C7-41A7-8BC8-A5D7F3FC85FE}" destId="{FB48E384-92C0-4C77-BF57-00E2BB453755}" srcOrd="2" destOrd="0" presId="urn:microsoft.com/office/officeart/2005/8/layout/orgChart1"/>
    <dgm:cxn modelId="{37DAC09D-4B1B-47A5-8C19-F3E258F108D3}" type="presParOf" srcId="{0D2FB71C-9870-4800-99B8-E9BCED327B60}" destId="{5FD6F4FB-DDB8-4ECF-B98C-0BEC42938CD3}" srcOrd="8" destOrd="0" presId="urn:microsoft.com/office/officeart/2005/8/layout/orgChart1"/>
    <dgm:cxn modelId="{86C1CC71-49DF-4012-A715-0293E78438E8}" type="presParOf" srcId="{0D2FB71C-9870-4800-99B8-E9BCED327B60}" destId="{09C1AAE6-97D2-45F0-AA5F-3BDB24EEADC8}" srcOrd="9" destOrd="0" presId="urn:microsoft.com/office/officeart/2005/8/layout/orgChart1"/>
    <dgm:cxn modelId="{2DEF13CD-BE66-4FAD-B473-505351388C04}" type="presParOf" srcId="{09C1AAE6-97D2-45F0-AA5F-3BDB24EEADC8}" destId="{8DBA0E44-5570-43AF-832B-1A54869FDB2A}" srcOrd="0" destOrd="0" presId="urn:microsoft.com/office/officeart/2005/8/layout/orgChart1"/>
    <dgm:cxn modelId="{A4368333-0FC1-4CFE-B164-6F72E0CE66D9}" type="presParOf" srcId="{8DBA0E44-5570-43AF-832B-1A54869FDB2A}" destId="{1A8B11D2-3342-43F5-B281-F26FA4BDE16F}" srcOrd="0" destOrd="0" presId="urn:microsoft.com/office/officeart/2005/8/layout/orgChart1"/>
    <dgm:cxn modelId="{D0833CE8-5B3D-4230-A401-0EF132960B7C}" type="presParOf" srcId="{8DBA0E44-5570-43AF-832B-1A54869FDB2A}" destId="{B991F8E7-E96B-4D05-AE80-B5FE9647EED7}" srcOrd="1" destOrd="0" presId="urn:microsoft.com/office/officeart/2005/8/layout/orgChart1"/>
    <dgm:cxn modelId="{7547E219-7E11-4812-9B95-10FA67B8A441}" type="presParOf" srcId="{09C1AAE6-97D2-45F0-AA5F-3BDB24EEADC8}" destId="{27FC1422-098A-4B73-9241-2A583A938843}" srcOrd="1" destOrd="0" presId="urn:microsoft.com/office/officeart/2005/8/layout/orgChart1"/>
    <dgm:cxn modelId="{B22F84CC-6241-493D-9F0B-7D7C804A2109}" type="presParOf" srcId="{09C1AAE6-97D2-45F0-AA5F-3BDB24EEADC8}" destId="{9D794841-7694-453F-AF78-B2CE32D1AA95}" srcOrd="2" destOrd="0" presId="urn:microsoft.com/office/officeart/2005/8/layout/orgChart1"/>
    <dgm:cxn modelId="{9C26E9F2-9A39-4A07-9251-C155B35F304A}" type="presParOf" srcId="{0D2FB71C-9870-4800-99B8-E9BCED327B60}" destId="{2A44425D-D7C8-40F6-A0F1-CB9AD593B73B}" srcOrd="10" destOrd="0" presId="urn:microsoft.com/office/officeart/2005/8/layout/orgChart1"/>
    <dgm:cxn modelId="{0DEDEA6C-E1F9-4078-85A9-B050E5FDC5FA}" type="presParOf" srcId="{0D2FB71C-9870-4800-99B8-E9BCED327B60}" destId="{425919B7-9E1B-4C61-BBA5-3B5568B3D22D}" srcOrd="11" destOrd="0" presId="urn:microsoft.com/office/officeart/2005/8/layout/orgChart1"/>
    <dgm:cxn modelId="{F7EA5C5A-9A28-4196-9DDD-24E339B9CAA0}" type="presParOf" srcId="{425919B7-9E1B-4C61-BBA5-3B5568B3D22D}" destId="{FC05B788-26A6-4CD1-9579-8AD4F5122318}" srcOrd="0" destOrd="0" presId="urn:microsoft.com/office/officeart/2005/8/layout/orgChart1"/>
    <dgm:cxn modelId="{587BE52D-0C99-453D-8074-513D0910B66F}" type="presParOf" srcId="{FC05B788-26A6-4CD1-9579-8AD4F5122318}" destId="{043824C3-24DA-4A30-A957-CD48C867E7EB}" srcOrd="0" destOrd="0" presId="urn:microsoft.com/office/officeart/2005/8/layout/orgChart1"/>
    <dgm:cxn modelId="{B76D7F5F-1EC5-4815-84B7-D1A69B7B26C0}" type="presParOf" srcId="{FC05B788-26A6-4CD1-9579-8AD4F5122318}" destId="{8A5A4975-D139-4DFF-BF92-2C4891FCFD7D}" srcOrd="1" destOrd="0" presId="urn:microsoft.com/office/officeart/2005/8/layout/orgChart1"/>
    <dgm:cxn modelId="{E644726C-46AB-4263-B25D-E9694D037F25}" type="presParOf" srcId="{425919B7-9E1B-4C61-BBA5-3B5568B3D22D}" destId="{C4C88432-A0E0-466E-93A2-DB3F93B5EF73}" srcOrd="1" destOrd="0" presId="urn:microsoft.com/office/officeart/2005/8/layout/orgChart1"/>
    <dgm:cxn modelId="{05D210D9-6038-4384-B279-FF8ABBD6F9E7}" type="presParOf" srcId="{425919B7-9E1B-4C61-BBA5-3B5568B3D22D}" destId="{A7715335-09D7-4946-B779-A42808A7EC71}" srcOrd="2" destOrd="0" presId="urn:microsoft.com/office/officeart/2005/8/layout/orgChart1"/>
    <dgm:cxn modelId="{C96629B2-3679-4D4C-88A8-DB7B335AB549}" type="presParOf" srcId="{0D2FB71C-9870-4800-99B8-E9BCED327B60}" destId="{D9E992A6-A633-4754-A876-B06BF9F7A37B}" srcOrd="12" destOrd="0" presId="urn:microsoft.com/office/officeart/2005/8/layout/orgChart1"/>
    <dgm:cxn modelId="{A493BC65-0225-471D-9697-6F353E3DAB0C}" type="presParOf" srcId="{0D2FB71C-9870-4800-99B8-E9BCED327B60}" destId="{C8EFECE9-7CC0-4C94-BC3C-8CE7CF6FB630}" srcOrd="13" destOrd="0" presId="urn:microsoft.com/office/officeart/2005/8/layout/orgChart1"/>
    <dgm:cxn modelId="{4D1D1711-AC51-4BF5-996B-783745FD178C}" type="presParOf" srcId="{C8EFECE9-7CC0-4C94-BC3C-8CE7CF6FB630}" destId="{B0F2454C-1505-45FF-95F9-BF53329A8B26}" srcOrd="0" destOrd="0" presId="urn:microsoft.com/office/officeart/2005/8/layout/orgChart1"/>
    <dgm:cxn modelId="{56D4345C-D8B5-46A2-8B55-0608076E6B15}" type="presParOf" srcId="{B0F2454C-1505-45FF-95F9-BF53329A8B26}" destId="{93FCE660-DDC3-4AB5-B916-99CEE63A83BE}" srcOrd="0" destOrd="0" presId="urn:microsoft.com/office/officeart/2005/8/layout/orgChart1"/>
    <dgm:cxn modelId="{6530E657-3DCE-48B8-8493-3C70F38D704F}" type="presParOf" srcId="{B0F2454C-1505-45FF-95F9-BF53329A8B26}" destId="{A9406A68-DF67-4473-ACC1-B0C98CF9EF57}" srcOrd="1" destOrd="0" presId="urn:microsoft.com/office/officeart/2005/8/layout/orgChart1"/>
    <dgm:cxn modelId="{3FB1DE28-4EBD-4CBF-840D-130B5A8E1B71}" type="presParOf" srcId="{C8EFECE9-7CC0-4C94-BC3C-8CE7CF6FB630}" destId="{CD10DD08-9C09-4AEA-82BC-62178C8FAE16}" srcOrd="1" destOrd="0" presId="urn:microsoft.com/office/officeart/2005/8/layout/orgChart1"/>
    <dgm:cxn modelId="{8C61F26D-E67E-4407-94C4-DD3CA9221A18}" type="presParOf" srcId="{C8EFECE9-7CC0-4C94-BC3C-8CE7CF6FB630}" destId="{C89D0D45-3664-44AC-BDAC-3B543E36099A}" srcOrd="2" destOrd="0" presId="urn:microsoft.com/office/officeart/2005/8/layout/orgChart1"/>
    <dgm:cxn modelId="{2C91CF2F-8BF6-4F50-BFFA-06C1F963EF45}" type="presParOf" srcId="{B016AF52-EF24-48EA-B883-B7A6EEBD317C}" destId="{A2B46BB7-F381-46BB-BC2D-7BE85501FBCC}" srcOrd="2" destOrd="0" presId="urn:microsoft.com/office/officeart/2005/8/layout/orgChart1"/>
    <dgm:cxn modelId="{A0C8B72C-EC4E-4A7A-827A-9FB8CFCE0DBA}" type="presParOf" srcId="{FB279467-F3D0-4A2A-9DFD-7DF66D00DCAB}" destId="{D141E0DF-F6A8-42EF-9C5A-D0A3BD548DD4}"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EA21CE9-A7A8-4EE0-8D08-C3300B5032C0}" type="doc">
      <dgm:prSet loTypeId="urn:microsoft.com/office/officeart/2005/8/layout/orgChart1" loCatId="hierarchy" qsTypeId="urn:microsoft.com/office/officeart/2005/8/quickstyle/simple1" qsCatId="simple" csTypeId="urn:microsoft.com/office/officeart/2005/8/colors/colorful2" csCatId="colorful" phldr="1"/>
      <dgm:spPr/>
      <dgm:t>
        <a:bodyPr/>
        <a:lstStyle/>
        <a:p>
          <a:endParaRPr lang="en-GB"/>
        </a:p>
      </dgm:t>
    </dgm:pt>
    <dgm:pt modelId="{D9A67AE4-4575-43B7-A6F3-0BD58EA221F0}">
      <dgm:prSet phldrT="[Text]" custT="1"/>
      <dgm:spPr>
        <a:xfrm>
          <a:off x="6871" y="76796"/>
          <a:ext cx="11569409" cy="761060"/>
        </a:xfrm>
        <a:solidFill>
          <a:srgbClr val="679F81"/>
        </a:solidFill>
        <a:ln w="12700" cap="flat" cmpd="sng" algn="ctr">
          <a:noFill/>
          <a:prstDash val="solid"/>
          <a:miter lim="800000"/>
        </a:ln>
        <a:effectLst/>
      </dgm:spPr>
      <dgm:t>
        <a:bodyPr/>
        <a:lstStyle/>
        <a:p>
          <a:r>
            <a:rPr lang="en-ZA" sz="2000" b="1" dirty="0" smtClean="0">
              <a:solidFill>
                <a:sysClr val="window" lastClr="FFFFFF"/>
              </a:solidFill>
              <a:latin typeface="Lato"/>
              <a:ea typeface="+mn-ea"/>
              <a:cs typeface="+mn-cs"/>
            </a:rPr>
            <a:t>Solution Statement Support:</a:t>
          </a:r>
        </a:p>
        <a:p>
          <a:r>
            <a:rPr lang="en-ZA" sz="2000" b="1" dirty="0" smtClean="0">
              <a:solidFill>
                <a:sysClr val="window" lastClr="FFFFFF"/>
              </a:solidFill>
              <a:latin typeface="Lato"/>
              <a:ea typeface="+mn-ea"/>
              <a:cs typeface="+mn-cs"/>
            </a:rPr>
            <a:t>High performing ethical organisation</a:t>
          </a:r>
          <a:endParaRPr lang="en-GB" sz="2000" b="1" dirty="0">
            <a:solidFill>
              <a:sysClr val="window" lastClr="FFFFFF"/>
            </a:solidFill>
            <a:latin typeface="Lato"/>
            <a:ea typeface="+mn-ea"/>
            <a:cs typeface="+mn-cs"/>
          </a:endParaRPr>
        </a:p>
      </dgm:t>
    </dgm:pt>
    <dgm:pt modelId="{39C1069B-DA89-4843-9365-C76A128E71C3}" type="parTrans" cxnId="{0DFC5457-C539-4339-BB3F-CF4545C5A9C3}">
      <dgm:prSet/>
      <dgm:spPr/>
      <dgm:t>
        <a:bodyPr/>
        <a:lstStyle/>
        <a:p>
          <a:endParaRPr lang="en-GB"/>
        </a:p>
      </dgm:t>
    </dgm:pt>
    <dgm:pt modelId="{396C6420-8006-4594-B3E6-C40C0F01C177}" type="sibTrans" cxnId="{0DFC5457-C539-4339-BB3F-CF4545C5A9C3}">
      <dgm:prSet/>
      <dgm:spPr/>
      <dgm:t>
        <a:bodyPr/>
        <a:lstStyle/>
        <a:p>
          <a:endParaRPr lang="en-GB"/>
        </a:p>
      </dgm:t>
    </dgm:pt>
    <dgm:pt modelId="{3FA8E52E-41A8-4B79-88F3-ABDEBF17CD17}">
      <dgm:prSet phldrT="[Text]" custT="1"/>
      <dgm:spPr>
        <a:xfrm>
          <a:off x="32817" y="963521"/>
          <a:ext cx="2749662" cy="547946"/>
        </a:xfr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300" dirty="0" smtClean="0">
              <a:solidFill>
                <a:sysClr val="windowText" lastClr="000000"/>
              </a:solidFill>
              <a:latin typeface="Lato"/>
              <a:ea typeface="+mn-ea"/>
              <a:cs typeface="+mn-cs"/>
            </a:rPr>
            <a:t>Intervention:</a:t>
          </a:r>
        </a:p>
        <a:p>
          <a:pPr>
            <a:spcAft>
              <a:spcPts val="0"/>
            </a:spcAft>
          </a:pPr>
          <a:r>
            <a:rPr lang="en-ZA" sz="1300" dirty="0" smtClean="0">
              <a:solidFill>
                <a:sysClr val="windowText" lastClr="000000"/>
              </a:solidFill>
              <a:latin typeface="Lato"/>
              <a:ea typeface="+mn-ea"/>
              <a:cs typeface="+mn-cs"/>
            </a:rPr>
            <a:t>Automation and integration of systems</a:t>
          </a:r>
          <a:endParaRPr lang="en-GB" sz="1300" dirty="0">
            <a:solidFill>
              <a:sysClr val="windowText" lastClr="000000"/>
            </a:solidFill>
            <a:latin typeface="Lato"/>
            <a:ea typeface="+mn-ea"/>
            <a:cs typeface="+mn-cs"/>
          </a:endParaRPr>
        </a:p>
      </dgm:t>
    </dgm:pt>
    <dgm:pt modelId="{3DAC40A4-5971-441F-9133-8187AFA97BC7}" type="parTrans" cxnId="{34619154-2874-42E1-B530-942BF7DE9588}">
      <dgm:prSet/>
      <dgm:spPr>
        <a:xfrm>
          <a:off x="1407648" y="837857"/>
          <a:ext cx="4383927" cy="125664"/>
        </a:xfrm>
        <a:noFill/>
        <a:ln w="12700" cap="flat" cmpd="sng" algn="ctr">
          <a:noFill/>
          <a:prstDash val="solid"/>
          <a:miter lim="800000"/>
        </a:ln>
        <a:effectLst/>
      </dgm:spPr>
      <dgm:t>
        <a:bodyPr/>
        <a:lstStyle/>
        <a:p>
          <a:endParaRPr lang="en-GB"/>
        </a:p>
      </dgm:t>
    </dgm:pt>
    <dgm:pt modelId="{C6B1D5F1-D291-4575-A8D3-D12B8411F8B8}" type="sibTrans" cxnId="{34619154-2874-42E1-B530-942BF7DE9588}">
      <dgm:prSet/>
      <dgm:spPr/>
      <dgm:t>
        <a:bodyPr/>
        <a:lstStyle/>
        <a:p>
          <a:endParaRPr lang="en-GB"/>
        </a:p>
      </dgm:t>
    </dgm:pt>
    <dgm:pt modelId="{C210B5A7-FC8F-4CFB-888B-78A66105B5E3}">
      <dgm:prSet phldrT="[Text]" custT="1"/>
      <dgm:spPr>
        <a:xfrm>
          <a:off x="2947397" y="960235"/>
          <a:ext cx="2749662" cy="547946"/>
        </a:xfr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300" dirty="0" smtClean="0">
              <a:solidFill>
                <a:sysClr val="windowText" lastClr="000000"/>
              </a:solidFill>
              <a:latin typeface="Lato"/>
              <a:ea typeface="+mn-ea"/>
              <a:cs typeface="+mn-cs"/>
            </a:rPr>
            <a:t>Intervention: </a:t>
          </a:r>
        </a:p>
        <a:p>
          <a:pPr>
            <a:spcAft>
              <a:spcPts val="0"/>
            </a:spcAft>
          </a:pPr>
          <a:r>
            <a:rPr lang="en-ZA" sz="1300" dirty="0" smtClean="0">
              <a:solidFill>
                <a:sysClr val="windowText" lastClr="000000"/>
              </a:solidFill>
              <a:latin typeface="Lato"/>
              <a:ea typeface="+mn-ea"/>
              <a:cs typeface="+mn-cs"/>
            </a:rPr>
            <a:t>Strategic Human Resource Management </a:t>
          </a:r>
          <a:endParaRPr lang="en-GB" sz="1300" dirty="0">
            <a:solidFill>
              <a:sysClr val="windowText" lastClr="000000"/>
            </a:solidFill>
            <a:latin typeface="Lato"/>
            <a:ea typeface="+mn-ea"/>
            <a:cs typeface="+mn-cs"/>
          </a:endParaRPr>
        </a:p>
      </dgm:t>
    </dgm:pt>
    <dgm:pt modelId="{C86C1488-BD31-4F23-97DB-7C2B89FF3AD9}" type="parTrans" cxnId="{7CE4B070-D832-43BE-B048-E7B02A1AFA58}">
      <dgm:prSet/>
      <dgm:spPr>
        <a:xfrm>
          <a:off x="4322228" y="837857"/>
          <a:ext cx="1469347" cy="122377"/>
        </a:xfrm>
        <a:noFill/>
        <a:ln w="12700" cap="flat" cmpd="sng" algn="ctr">
          <a:noFill/>
          <a:prstDash val="solid"/>
          <a:miter lim="800000"/>
        </a:ln>
        <a:effectLst/>
      </dgm:spPr>
      <dgm:t>
        <a:bodyPr/>
        <a:lstStyle/>
        <a:p>
          <a:endParaRPr lang="en-GB"/>
        </a:p>
      </dgm:t>
    </dgm:pt>
    <dgm:pt modelId="{FFD25E3B-8967-48DE-80D4-340F432E9169}" type="sibTrans" cxnId="{7CE4B070-D832-43BE-B048-E7B02A1AFA58}">
      <dgm:prSet/>
      <dgm:spPr/>
      <dgm:t>
        <a:bodyPr/>
        <a:lstStyle/>
        <a:p>
          <a:endParaRPr lang="en-GB"/>
        </a:p>
      </dgm:t>
    </dgm:pt>
    <dgm:pt modelId="{E506AFA8-1B82-43BC-98C8-F80DC54DD35B}">
      <dgm:prSet phldrT="[Text]" custT="1"/>
      <dgm:spPr>
        <a:xfrm>
          <a:off x="110905" y="1633808"/>
          <a:ext cx="2653928" cy="710325"/>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Automation of business process for accurate, reliable, timeous and relevant information</a:t>
          </a:r>
          <a:endParaRPr lang="en-GB" sz="1200" dirty="0" smtClean="0">
            <a:solidFill>
              <a:sysClr val="windowText" lastClr="000000"/>
            </a:solidFill>
            <a:latin typeface="Lato"/>
            <a:ea typeface="+mn-ea"/>
            <a:cs typeface="+mn-cs"/>
          </a:endParaRPr>
        </a:p>
      </dgm:t>
    </dgm:pt>
    <dgm:pt modelId="{EF5E585F-3673-4CC4-9E22-D48DF4FE27E6}" type="parTrans" cxnId="{557D6E5E-59E9-43D7-8845-F7FB07D1F166}">
      <dgm:prSet/>
      <dgm:spPr>
        <a:xfrm>
          <a:off x="110905" y="1511468"/>
          <a:ext cx="196878" cy="477503"/>
        </a:xfrm>
        <a:noFill/>
        <a:ln w="12700" cap="flat" cmpd="sng" algn="ctr">
          <a:noFill/>
          <a:prstDash val="solid"/>
          <a:miter lim="800000"/>
        </a:ln>
        <a:effectLst/>
      </dgm:spPr>
      <dgm:t>
        <a:bodyPr/>
        <a:lstStyle/>
        <a:p>
          <a:endParaRPr lang="en-GB"/>
        </a:p>
      </dgm:t>
    </dgm:pt>
    <dgm:pt modelId="{1E24B422-6D41-454D-BA4B-D634E2BDF376}" type="sibTrans" cxnId="{557D6E5E-59E9-43D7-8845-F7FB07D1F166}">
      <dgm:prSet/>
      <dgm:spPr/>
      <dgm:t>
        <a:bodyPr/>
        <a:lstStyle/>
        <a:p>
          <a:endParaRPr lang="en-GB"/>
        </a:p>
      </dgm:t>
    </dgm:pt>
    <dgm:pt modelId="{2758B6C3-6786-4A0A-94BA-3C0B87000D62}">
      <dgm:prSet phldrT="[Text]" custT="1"/>
      <dgm:spPr>
        <a:xfrm>
          <a:off x="122466" y="2452888"/>
          <a:ext cx="2653928" cy="552474"/>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Single view of offender (Integrated Inmate Management System)</a:t>
          </a:r>
          <a:endParaRPr lang="en-GB" sz="1200" dirty="0">
            <a:solidFill>
              <a:sysClr val="windowText" lastClr="000000"/>
            </a:solidFill>
            <a:latin typeface="Lato"/>
            <a:ea typeface="+mn-ea"/>
            <a:cs typeface="+mn-cs"/>
          </a:endParaRPr>
        </a:p>
      </dgm:t>
    </dgm:pt>
    <dgm:pt modelId="{9C577F41-001A-42AE-AABF-54268D15A364}" type="parTrans" cxnId="{CBEFB157-E296-4AF9-B054-3EE90D429E38}">
      <dgm:prSet/>
      <dgm:spPr>
        <a:xfrm>
          <a:off x="122466" y="1511468"/>
          <a:ext cx="185316" cy="1217657"/>
        </a:xfrm>
        <a:noFill/>
        <a:ln w="12700" cap="flat" cmpd="sng" algn="ctr">
          <a:noFill/>
          <a:prstDash val="solid"/>
          <a:miter lim="800000"/>
        </a:ln>
        <a:effectLst/>
      </dgm:spPr>
      <dgm:t>
        <a:bodyPr/>
        <a:lstStyle/>
        <a:p>
          <a:endParaRPr lang="en-GB"/>
        </a:p>
      </dgm:t>
    </dgm:pt>
    <dgm:pt modelId="{0F2659BC-333B-4BFD-B380-C47321237054}" type="sibTrans" cxnId="{CBEFB157-E296-4AF9-B054-3EE90D429E38}">
      <dgm:prSet/>
      <dgm:spPr/>
      <dgm:t>
        <a:bodyPr/>
        <a:lstStyle/>
        <a:p>
          <a:endParaRPr lang="en-GB"/>
        </a:p>
      </dgm:t>
    </dgm:pt>
    <dgm:pt modelId="{2F5C0CB3-A347-4DB6-A843-8920EBFA59B6}">
      <dgm:prSet phldrT="[Text]" custT="1"/>
      <dgm:spPr>
        <a:xfrm>
          <a:off x="122466" y="3103935"/>
          <a:ext cx="2653928" cy="5653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400" dirty="0" smtClean="0">
              <a:solidFill>
                <a:sysClr val="windowText" lastClr="000000"/>
              </a:solidFill>
              <a:latin typeface="Lato"/>
              <a:ea typeface="+mn-ea"/>
              <a:cs typeface="+mn-cs"/>
            </a:rPr>
            <a:t>Digitalise identity for offenders, officials, visitors, stakeholders</a:t>
          </a:r>
        </a:p>
      </dgm:t>
    </dgm:pt>
    <dgm:pt modelId="{6FA0B268-20E6-499D-A943-270BC5C30AC9}" type="parTrans" cxnId="{4D0D2DBF-09D6-4DEC-9CC7-E883F97C5197}">
      <dgm:prSet/>
      <dgm:spPr>
        <a:xfrm>
          <a:off x="122466" y="1511468"/>
          <a:ext cx="185316" cy="1875146"/>
        </a:xfrm>
        <a:noFill/>
        <a:ln w="12700" cap="flat" cmpd="sng" algn="ctr">
          <a:noFill/>
          <a:prstDash val="solid"/>
          <a:miter lim="800000"/>
        </a:ln>
        <a:effectLst/>
      </dgm:spPr>
      <dgm:t>
        <a:bodyPr/>
        <a:lstStyle/>
        <a:p>
          <a:endParaRPr lang="en-GB"/>
        </a:p>
      </dgm:t>
    </dgm:pt>
    <dgm:pt modelId="{677BD7D6-19D5-4D7B-8449-37BF39C7EDD8}" type="sibTrans" cxnId="{4D0D2DBF-09D6-4DEC-9CC7-E883F97C5197}">
      <dgm:prSet/>
      <dgm:spPr/>
      <dgm:t>
        <a:bodyPr/>
        <a:lstStyle/>
        <a:p>
          <a:endParaRPr lang="en-GB"/>
        </a:p>
      </dgm:t>
    </dgm:pt>
    <dgm:pt modelId="{E59C7045-2EF3-4659-8457-FC2DC2C82928}">
      <dgm:prSet phldrT="[Text]" custT="1"/>
      <dgm:spPr>
        <a:xfrm>
          <a:off x="122466" y="3802794"/>
          <a:ext cx="2653928" cy="5653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Integration of security technology and information network.</a:t>
          </a:r>
          <a:endParaRPr lang="en-GB" sz="1400" dirty="0" smtClean="0">
            <a:solidFill>
              <a:sysClr val="windowText" lastClr="000000"/>
            </a:solidFill>
            <a:latin typeface="Lato"/>
            <a:ea typeface="+mn-ea"/>
            <a:cs typeface="+mn-cs"/>
          </a:endParaRPr>
        </a:p>
      </dgm:t>
    </dgm:pt>
    <dgm:pt modelId="{B0DC9A8E-7A12-4BF0-8A96-882866292D90}" type="parTrans" cxnId="{24106185-18D9-48B1-AAE2-4FC69831F042}">
      <dgm:prSet/>
      <dgm:spPr>
        <a:xfrm>
          <a:off x="122466" y="1511468"/>
          <a:ext cx="185316" cy="2574006"/>
        </a:xfrm>
        <a:noFill/>
        <a:ln w="12700" cap="flat" cmpd="sng" algn="ctr">
          <a:noFill/>
          <a:prstDash val="solid"/>
          <a:miter lim="800000"/>
        </a:ln>
        <a:effectLst/>
      </dgm:spPr>
      <dgm:t>
        <a:bodyPr/>
        <a:lstStyle/>
        <a:p>
          <a:endParaRPr lang="en-GB"/>
        </a:p>
      </dgm:t>
    </dgm:pt>
    <dgm:pt modelId="{EBD21BEC-BB3F-4363-BD34-812CD6EAD19C}" type="sibTrans" cxnId="{24106185-18D9-48B1-AAE2-4FC69831F042}">
      <dgm:prSet/>
      <dgm:spPr/>
      <dgm:t>
        <a:bodyPr/>
        <a:lstStyle/>
        <a:p>
          <a:endParaRPr lang="en-GB"/>
        </a:p>
      </dgm:t>
    </dgm:pt>
    <dgm:pt modelId="{7741473B-E186-4580-BC20-E482C22F84BC}">
      <dgm:prSet phldrT="[Text]" custT="1"/>
      <dgm:spPr>
        <a:xfrm>
          <a:off x="122466" y="4517607"/>
          <a:ext cx="2653928" cy="5653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Upgrade and implement security technology</a:t>
          </a:r>
          <a:endParaRPr lang="en-GB" sz="1600" dirty="0" smtClean="0">
            <a:solidFill>
              <a:sysClr val="windowText" lastClr="000000"/>
            </a:solidFill>
            <a:latin typeface="Lato"/>
            <a:ea typeface="+mn-ea"/>
            <a:cs typeface="+mn-cs"/>
          </a:endParaRPr>
        </a:p>
      </dgm:t>
    </dgm:pt>
    <dgm:pt modelId="{AD30EE2C-612E-4D7A-9A9D-63748E547A4E}" type="parTrans" cxnId="{5955092D-3D5D-4A47-A9F2-15D5112DA505}">
      <dgm:prSet/>
      <dgm:spPr>
        <a:xfrm>
          <a:off x="122466" y="1511468"/>
          <a:ext cx="185316" cy="3288818"/>
        </a:xfrm>
        <a:noFill/>
        <a:ln w="12700" cap="flat" cmpd="sng" algn="ctr">
          <a:noFill/>
          <a:prstDash val="solid"/>
          <a:miter lim="800000"/>
        </a:ln>
        <a:effectLst/>
      </dgm:spPr>
      <dgm:t>
        <a:bodyPr/>
        <a:lstStyle/>
        <a:p>
          <a:endParaRPr lang="en-GB"/>
        </a:p>
      </dgm:t>
    </dgm:pt>
    <dgm:pt modelId="{6C4AD7F0-8C67-48D0-A127-C28309A053BC}" type="sibTrans" cxnId="{5955092D-3D5D-4A47-A9F2-15D5112DA505}">
      <dgm:prSet/>
      <dgm:spPr/>
      <dgm:t>
        <a:bodyPr/>
        <a:lstStyle/>
        <a:p>
          <a:endParaRPr lang="en-GB"/>
        </a:p>
      </dgm:t>
    </dgm:pt>
    <dgm:pt modelId="{AC209003-8BA6-44DF-A8F6-9D2C5C73FF0B}">
      <dgm:prSet phldrT="[Text]" custT="1"/>
      <dgm:spPr>
        <a:xfrm>
          <a:off x="122466" y="5196117"/>
          <a:ext cx="2653928" cy="828712"/>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Develop Infrastructure assessment plan to c</a:t>
          </a:r>
          <a:r>
            <a:rPr lang="en-ZA" sz="1200" dirty="0" smtClean="0">
              <a:solidFill>
                <a:sysClr val="windowText" lastClr="000000"/>
              </a:solidFill>
              <a:latin typeface="Lato"/>
              <a:ea typeface="+mn-ea"/>
              <a:cs typeface="+mn-cs"/>
            </a:rPr>
            <a:t>continuously maintain, support and upgrade the IT Infrastructure  </a:t>
          </a:r>
          <a:endParaRPr lang="en-GB" sz="1200" dirty="0">
            <a:solidFill>
              <a:sysClr val="windowText" lastClr="000000"/>
            </a:solidFill>
            <a:latin typeface="Lato"/>
            <a:ea typeface="+mn-ea"/>
            <a:cs typeface="+mn-cs"/>
          </a:endParaRPr>
        </a:p>
      </dgm:t>
    </dgm:pt>
    <dgm:pt modelId="{E6B68188-F1B4-4DE3-B26E-C5597DBA8B4B}" type="parTrans" cxnId="{B82820CA-B569-4FCD-AF8B-13796FC33CD6}">
      <dgm:prSet/>
      <dgm:spPr>
        <a:xfrm>
          <a:off x="122466" y="1511468"/>
          <a:ext cx="185316" cy="4099005"/>
        </a:xfrm>
        <a:noFill/>
        <a:ln w="12700" cap="flat" cmpd="sng" algn="ctr">
          <a:noFill/>
          <a:prstDash val="solid"/>
          <a:miter lim="800000"/>
        </a:ln>
        <a:effectLst/>
      </dgm:spPr>
      <dgm:t>
        <a:bodyPr/>
        <a:lstStyle/>
        <a:p>
          <a:endParaRPr lang="en-GB"/>
        </a:p>
      </dgm:t>
    </dgm:pt>
    <dgm:pt modelId="{AC6B0107-A7F4-48CD-AA7A-25D3230F9343}" type="sibTrans" cxnId="{B82820CA-B569-4FCD-AF8B-13796FC33CD6}">
      <dgm:prSet/>
      <dgm:spPr/>
      <dgm:t>
        <a:bodyPr/>
        <a:lstStyle/>
        <a:p>
          <a:endParaRPr lang="en-GB"/>
        </a:p>
      </dgm:t>
    </dgm:pt>
    <dgm:pt modelId="{8258131A-64F0-468E-89FA-30CD74677209}">
      <dgm:prSet phldrT="[Text]" custT="1"/>
      <dgm:spPr>
        <a:xfrm>
          <a:off x="3005418" y="1563064"/>
          <a:ext cx="2690278" cy="452848"/>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Full decentralisation of HR functions </a:t>
          </a:r>
          <a:endParaRPr lang="en-GB" sz="1400" dirty="0">
            <a:solidFill>
              <a:sysClr val="windowText" lastClr="000000"/>
            </a:solidFill>
            <a:latin typeface="Lato"/>
            <a:ea typeface="+mn-ea"/>
            <a:cs typeface="+mn-cs"/>
          </a:endParaRPr>
        </a:p>
      </dgm:t>
    </dgm:pt>
    <dgm:pt modelId="{FF33382B-89C8-4B25-8169-CD7550BE112E}" type="parTrans" cxnId="{A61C9F55-6449-4178-9CC6-F1D3CAA7F97D}">
      <dgm:prSet/>
      <dgm:spPr>
        <a:xfrm>
          <a:off x="3005418" y="1508181"/>
          <a:ext cx="216944" cy="281306"/>
        </a:xfrm>
        <a:noFill/>
        <a:ln w="12700" cap="flat" cmpd="sng" algn="ctr">
          <a:noFill/>
          <a:prstDash val="solid"/>
          <a:miter lim="800000"/>
        </a:ln>
        <a:effectLst/>
      </dgm:spPr>
      <dgm:t>
        <a:bodyPr/>
        <a:lstStyle/>
        <a:p>
          <a:endParaRPr lang="en-GB"/>
        </a:p>
      </dgm:t>
    </dgm:pt>
    <dgm:pt modelId="{F2F6720F-1FA0-4D9D-AA63-E6FA9B6536EA}" type="sibTrans" cxnId="{A61C9F55-6449-4178-9CC6-F1D3CAA7F97D}">
      <dgm:prSet/>
      <dgm:spPr/>
      <dgm:t>
        <a:bodyPr/>
        <a:lstStyle/>
        <a:p>
          <a:endParaRPr lang="en-GB"/>
        </a:p>
      </dgm:t>
    </dgm:pt>
    <dgm:pt modelId="{DB7FB121-89FA-4FDA-BA06-6EB92D692684}">
      <dgm:prSet phldrT="[Text]" custT="1"/>
      <dgm:spPr>
        <a:xfrm>
          <a:off x="3019640" y="2070118"/>
          <a:ext cx="2690278" cy="453174"/>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200" dirty="0" smtClean="0">
              <a:solidFill>
                <a:sysClr val="windowText" lastClr="000000"/>
              </a:solidFill>
              <a:latin typeface="Lato"/>
              <a:ea typeface="+mn-ea"/>
              <a:cs typeface="+mn-cs"/>
            </a:rPr>
            <a:t>Consistent implementation of HR directives</a:t>
          </a:r>
          <a:endParaRPr lang="en-GB" sz="1200" dirty="0">
            <a:solidFill>
              <a:sysClr val="windowText" lastClr="000000"/>
            </a:solidFill>
            <a:latin typeface="Lato"/>
            <a:ea typeface="+mn-ea"/>
            <a:cs typeface="+mn-cs"/>
          </a:endParaRPr>
        </a:p>
      </dgm:t>
    </dgm:pt>
    <dgm:pt modelId="{FD01D34D-5E0D-46CB-A169-082DA7DAD974}" type="parTrans" cxnId="{5E05D01C-86C1-4D78-9891-28D3BB9C2A58}">
      <dgm:prSet/>
      <dgm:spPr>
        <a:xfrm>
          <a:off x="3019640" y="1508181"/>
          <a:ext cx="202723" cy="788523"/>
        </a:xfrm>
        <a:noFill/>
        <a:ln w="12700" cap="flat" cmpd="sng" algn="ctr">
          <a:noFill/>
          <a:prstDash val="solid"/>
          <a:miter lim="800000"/>
        </a:ln>
        <a:effectLst/>
      </dgm:spPr>
      <dgm:t>
        <a:bodyPr/>
        <a:lstStyle/>
        <a:p>
          <a:endParaRPr lang="en-GB"/>
        </a:p>
      </dgm:t>
    </dgm:pt>
    <dgm:pt modelId="{DD9AF56D-050C-4FCF-866D-9181CC568B13}" type="sibTrans" cxnId="{5E05D01C-86C1-4D78-9891-28D3BB9C2A58}">
      <dgm:prSet/>
      <dgm:spPr/>
      <dgm:t>
        <a:bodyPr/>
        <a:lstStyle/>
        <a:p>
          <a:endParaRPr lang="en-GB"/>
        </a:p>
      </dgm:t>
    </dgm:pt>
    <dgm:pt modelId="{7520F216-6A93-4900-B03B-1CAE7FDB300B}">
      <dgm:prSet phldrT="[Text]" custT="1"/>
      <dgm:spPr>
        <a:xfrm>
          <a:off x="3019640" y="2590012"/>
          <a:ext cx="2690278" cy="533370"/>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sz="1050" b="0" dirty="0" smtClean="0">
              <a:solidFill>
                <a:sysClr val="windowText" lastClr="000000"/>
              </a:solidFill>
              <a:latin typeface="Lato"/>
              <a:ea typeface="+mn-ea"/>
              <a:cs typeface="+mn-cs"/>
            </a:rPr>
            <a:t>Approval and implementation of functional, centre-centric organisational structure</a:t>
          </a:r>
          <a:endParaRPr lang="en-GB" sz="1050" b="0" dirty="0">
            <a:solidFill>
              <a:sysClr val="windowText" lastClr="000000"/>
            </a:solidFill>
            <a:latin typeface="Lato"/>
            <a:ea typeface="+mn-ea"/>
            <a:cs typeface="+mn-cs"/>
          </a:endParaRPr>
        </a:p>
      </dgm:t>
    </dgm:pt>
    <dgm:pt modelId="{4D12AA29-479B-49C6-9FF2-D77C0C9C8CC6}" type="parTrans" cxnId="{889E07D5-B3DA-49CD-A216-C666F0E36142}">
      <dgm:prSet/>
      <dgm:spPr>
        <a:xfrm>
          <a:off x="3019640" y="1508181"/>
          <a:ext cx="202723" cy="1348516"/>
        </a:xfrm>
        <a:noFill/>
        <a:ln w="12700" cap="flat" cmpd="sng" algn="ctr">
          <a:noFill/>
          <a:prstDash val="solid"/>
          <a:miter lim="800000"/>
        </a:ln>
        <a:effectLst/>
      </dgm:spPr>
      <dgm:t>
        <a:bodyPr/>
        <a:lstStyle/>
        <a:p>
          <a:endParaRPr lang="en-GB"/>
        </a:p>
      </dgm:t>
    </dgm:pt>
    <dgm:pt modelId="{BA27681F-B8E8-4861-83D6-629C56782002}" type="sibTrans" cxnId="{889E07D5-B3DA-49CD-A216-C666F0E36142}">
      <dgm:prSet/>
      <dgm:spPr/>
      <dgm:t>
        <a:bodyPr/>
        <a:lstStyle/>
        <a:p>
          <a:endParaRPr lang="en-GB"/>
        </a:p>
      </dgm:t>
    </dgm:pt>
    <dgm:pt modelId="{D6F17EA9-E082-43E6-9D65-85C43DB9E61E}">
      <dgm:prSet phldrT="[Text]" custT="1"/>
      <dgm:spPr>
        <a:xfrm>
          <a:off x="3019640" y="3222359"/>
          <a:ext cx="2690278" cy="723862"/>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pPr>
            <a:lnSpc>
              <a:spcPct val="100000"/>
            </a:lnSpc>
            <a:spcAft>
              <a:spcPts val="0"/>
            </a:spcAft>
          </a:pPr>
          <a:r>
            <a:rPr lang="en-ZA" sz="850" dirty="0" smtClean="0">
              <a:solidFill>
                <a:sysClr val="windowText" lastClr="000000"/>
              </a:solidFill>
              <a:latin typeface="Lato"/>
              <a:ea typeface="+mn-ea"/>
              <a:cs typeface="+mn-cs"/>
            </a:rPr>
            <a:t>Partnership with other departments, HEIs, SETAs, Disability Sector, NSG, professional bodies - MoUs; allowances for professionals, extension of Community service programme to include other professions;</a:t>
          </a:r>
          <a:endParaRPr lang="en-GB" sz="850" dirty="0">
            <a:solidFill>
              <a:sysClr val="windowText" lastClr="000000"/>
            </a:solidFill>
            <a:latin typeface="Lato"/>
            <a:ea typeface="+mn-ea"/>
            <a:cs typeface="+mn-cs"/>
          </a:endParaRPr>
        </a:p>
      </dgm:t>
    </dgm:pt>
    <dgm:pt modelId="{9E6D193C-AE2E-4C60-B40E-8A836963A6ED}" type="parTrans" cxnId="{D620C2D2-A93A-4291-AB41-C4C4272825DC}">
      <dgm:prSet/>
      <dgm:spPr>
        <a:xfrm>
          <a:off x="3019640" y="1508181"/>
          <a:ext cx="202723" cy="2076109"/>
        </a:xfrm>
        <a:noFill/>
        <a:ln w="12700" cap="flat" cmpd="sng" algn="ctr">
          <a:noFill/>
          <a:prstDash val="solid"/>
          <a:miter lim="800000"/>
        </a:ln>
        <a:effectLst/>
      </dgm:spPr>
      <dgm:t>
        <a:bodyPr/>
        <a:lstStyle/>
        <a:p>
          <a:endParaRPr lang="en-GB"/>
        </a:p>
      </dgm:t>
    </dgm:pt>
    <dgm:pt modelId="{C6072D5B-B209-4632-BF6C-A85AFBA9582B}" type="sibTrans" cxnId="{D620C2D2-A93A-4291-AB41-C4C4272825DC}">
      <dgm:prSet/>
      <dgm:spPr/>
      <dgm:t>
        <a:bodyPr/>
        <a:lstStyle/>
        <a:p>
          <a:endParaRPr lang="en-GB"/>
        </a:p>
      </dgm:t>
    </dgm:pt>
    <dgm:pt modelId="{A67701C2-2154-49A9-AEE7-642B0F6E0EDA}">
      <dgm:prSet phldrT="[Text]" custT="1"/>
      <dgm:spPr>
        <a:xfrm>
          <a:off x="3019640" y="4029069"/>
          <a:ext cx="2690278" cy="453174"/>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b="0" dirty="0" smtClean="0">
              <a:solidFill>
                <a:sysClr val="windowText" lastClr="000000"/>
              </a:solidFill>
              <a:latin typeface="Lato"/>
              <a:ea typeface="+mn-ea"/>
              <a:cs typeface="+mn-cs"/>
            </a:rPr>
            <a:t>Develop and Implement Talent Management Strategy</a:t>
          </a:r>
          <a:endParaRPr lang="en-GB" sz="1050" b="0" dirty="0">
            <a:solidFill>
              <a:sysClr val="windowText" lastClr="000000"/>
            </a:solidFill>
            <a:latin typeface="Lato"/>
            <a:ea typeface="+mn-ea"/>
            <a:cs typeface="+mn-cs"/>
          </a:endParaRPr>
        </a:p>
      </dgm:t>
    </dgm:pt>
    <dgm:pt modelId="{68FB7B31-DBFA-4E20-A5A9-242EBD808708}" type="parTrans" cxnId="{323A174D-A943-481C-AA12-3A02F0E37880}">
      <dgm:prSet/>
      <dgm:spPr>
        <a:xfrm>
          <a:off x="3019640" y="1508181"/>
          <a:ext cx="202723" cy="2747474"/>
        </a:xfrm>
        <a:noFill/>
        <a:ln w="12700" cap="flat" cmpd="sng" algn="ctr">
          <a:noFill/>
          <a:prstDash val="solid"/>
          <a:miter lim="800000"/>
        </a:ln>
        <a:effectLst/>
      </dgm:spPr>
      <dgm:t>
        <a:bodyPr/>
        <a:lstStyle/>
        <a:p>
          <a:endParaRPr lang="en-GB"/>
        </a:p>
      </dgm:t>
    </dgm:pt>
    <dgm:pt modelId="{DE5C4C84-FC53-429E-B431-54377B1406F5}" type="sibTrans" cxnId="{323A174D-A943-481C-AA12-3A02F0E37880}">
      <dgm:prSet/>
      <dgm:spPr/>
      <dgm:t>
        <a:bodyPr/>
        <a:lstStyle/>
        <a:p>
          <a:endParaRPr lang="en-GB"/>
        </a:p>
      </dgm:t>
    </dgm:pt>
    <dgm:pt modelId="{AD9B6B29-76D5-426B-93B6-5BFE62AB229B}">
      <dgm:prSet phldrT="[Text]" custT="1"/>
      <dgm:spPr>
        <a:xfrm>
          <a:off x="3019640" y="4549306"/>
          <a:ext cx="2690278" cy="453174"/>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00" dirty="0" smtClean="0">
              <a:solidFill>
                <a:sysClr val="windowText" lastClr="000000"/>
              </a:solidFill>
              <a:latin typeface="Lato"/>
              <a:ea typeface="+mn-ea"/>
              <a:cs typeface="+mn-cs"/>
            </a:rPr>
            <a:t>Capacitate the Management Areas and correctional centres</a:t>
          </a:r>
          <a:endParaRPr lang="en-GB" sz="1000" dirty="0">
            <a:solidFill>
              <a:sysClr val="windowText" lastClr="000000"/>
            </a:solidFill>
            <a:latin typeface="Lato"/>
            <a:ea typeface="+mn-ea"/>
            <a:cs typeface="+mn-cs"/>
          </a:endParaRPr>
        </a:p>
      </dgm:t>
    </dgm:pt>
    <dgm:pt modelId="{84939823-9C1A-4A52-8238-B36504B8A531}" type="parTrans" cxnId="{F3C32E4C-5A51-4406-BA74-1A2339D8031A}">
      <dgm:prSet/>
      <dgm:spPr>
        <a:xfrm>
          <a:off x="3019640" y="1508181"/>
          <a:ext cx="202723" cy="3267712"/>
        </a:xfrm>
        <a:noFill/>
        <a:ln w="12700" cap="flat" cmpd="sng" algn="ctr">
          <a:noFill/>
          <a:prstDash val="solid"/>
          <a:miter lim="800000"/>
        </a:ln>
        <a:effectLst/>
      </dgm:spPr>
      <dgm:t>
        <a:bodyPr/>
        <a:lstStyle/>
        <a:p>
          <a:endParaRPr lang="en-GB"/>
        </a:p>
      </dgm:t>
    </dgm:pt>
    <dgm:pt modelId="{15659702-21A2-4FE5-A2E5-6D94C072E3B4}" type="sibTrans" cxnId="{F3C32E4C-5A51-4406-BA74-1A2339D8031A}">
      <dgm:prSet/>
      <dgm:spPr/>
      <dgm:t>
        <a:bodyPr/>
        <a:lstStyle/>
        <a:p>
          <a:endParaRPr lang="en-GB"/>
        </a:p>
      </dgm:t>
    </dgm:pt>
    <dgm:pt modelId="{6FFB1031-0A73-4469-BCC7-5B3640D26945}">
      <dgm:prSet phldrT="[Text]" custT="1"/>
      <dgm:spPr>
        <a:xfrm>
          <a:off x="3016707" y="5074260"/>
          <a:ext cx="2690278" cy="453174"/>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Consistently avail adequate budget for the colleges </a:t>
          </a:r>
          <a:endParaRPr lang="en-GB" sz="1050" dirty="0" smtClean="0">
            <a:solidFill>
              <a:sysClr val="windowText" lastClr="000000"/>
            </a:solidFill>
            <a:latin typeface="Lato"/>
            <a:ea typeface="+mn-ea"/>
            <a:cs typeface="+mn-cs"/>
          </a:endParaRPr>
        </a:p>
      </dgm:t>
    </dgm:pt>
    <dgm:pt modelId="{53973304-1394-4263-9745-1D093A3A9643}" type="parTrans" cxnId="{87F18738-F3EE-4F20-8A2F-988E2707B71F}">
      <dgm:prSet/>
      <dgm:spPr>
        <a:xfrm>
          <a:off x="3016707" y="1508181"/>
          <a:ext cx="205655" cy="3792666"/>
        </a:xfrm>
        <a:noFill/>
        <a:ln w="12700" cap="flat" cmpd="sng" algn="ctr">
          <a:noFill/>
          <a:prstDash val="solid"/>
          <a:miter lim="800000"/>
        </a:ln>
        <a:effectLst/>
      </dgm:spPr>
      <dgm:t>
        <a:bodyPr/>
        <a:lstStyle/>
        <a:p>
          <a:endParaRPr lang="en-GB"/>
        </a:p>
      </dgm:t>
    </dgm:pt>
    <dgm:pt modelId="{2B6001BC-975C-47B4-A3DF-5D8858B4F017}" type="sibTrans" cxnId="{87F18738-F3EE-4F20-8A2F-988E2707B71F}">
      <dgm:prSet/>
      <dgm:spPr/>
      <dgm:t>
        <a:bodyPr/>
        <a:lstStyle/>
        <a:p>
          <a:endParaRPr lang="en-GB"/>
        </a:p>
      </dgm:t>
    </dgm:pt>
    <dgm:pt modelId="{17012AFC-D3C1-4556-BCA0-69E7EF7D426B}">
      <dgm:prSet phldrT="[Text]" custT="1"/>
      <dgm:spPr>
        <a:xfrm>
          <a:off x="8800672" y="968812"/>
          <a:ext cx="2749662" cy="547946"/>
        </a:xfr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600" dirty="0" smtClean="0">
              <a:solidFill>
                <a:sysClr val="windowText" lastClr="000000"/>
              </a:solidFill>
              <a:latin typeface="Lato"/>
              <a:ea typeface="+mn-ea"/>
              <a:cs typeface="+mn-cs"/>
            </a:rPr>
            <a:t>Intervention:</a:t>
          </a:r>
        </a:p>
        <a:p>
          <a:pPr>
            <a:spcAft>
              <a:spcPts val="0"/>
            </a:spcAft>
          </a:pPr>
          <a:r>
            <a:rPr lang="en-ZA" sz="1600" dirty="0" smtClean="0">
              <a:solidFill>
                <a:sysClr val="windowText" lastClr="000000"/>
              </a:solidFill>
              <a:latin typeface="Lato"/>
              <a:ea typeface="+mn-ea"/>
              <a:cs typeface="+mn-cs"/>
            </a:rPr>
            <a:t>Improve compliance</a:t>
          </a:r>
          <a:endParaRPr lang="en-GB" sz="1600" dirty="0">
            <a:solidFill>
              <a:sysClr val="windowText" lastClr="000000"/>
            </a:solidFill>
            <a:latin typeface="Lato"/>
            <a:ea typeface="+mn-ea"/>
            <a:cs typeface="+mn-cs"/>
          </a:endParaRPr>
        </a:p>
      </dgm:t>
    </dgm:pt>
    <dgm:pt modelId="{2891E821-653F-4013-91DF-F4C272A737E3}" type="sibTrans" cxnId="{66D1CB44-4610-42F1-91AA-35A3C15028CB}">
      <dgm:prSet/>
      <dgm:spPr/>
      <dgm:t>
        <a:bodyPr/>
        <a:lstStyle/>
        <a:p>
          <a:endParaRPr lang="en-GB"/>
        </a:p>
      </dgm:t>
    </dgm:pt>
    <dgm:pt modelId="{D3AB7F58-C8BD-4F52-BA48-1335ECA51BF3}" type="parTrans" cxnId="{66D1CB44-4610-42F1-91AA-35A3C15028CB}">
      <dgm:prSet/>
      <dgm:spPr>
        <a:xfrm>
          <a:off x="5791576" y="837857"/>
          <a:ext cx="4383927" cy="130955"/>
        </a:xfrm>
        <a:noFill/>
        <a:ln w="12700" cap="flat" cmpd="sng" algn="ctr">
          <a:noFill/>
          <a:prstDash val="solid"/>
          <a:miter lim="800000"/>
        </a:ln>
        <a:effectLst/>
      </dgm:spPr>
      <dgm:t>
        <a:bodyPr/>
        <a:lstStyle/>
        <a:p>
          <a:endParaRPr lang="en-GB"/>
        </a:p>
      </dgm:t>
    </dgm:pt>
    <dgm:pt modelId="{4F00BF85-AC72-481D-BE7B-D4C9F900999E}">
      <dgm:prSet phldrT="[Text]" custT="1"/>
      <dgm:spPr>
        <a:xfrm>
          <a:off x="8909823" y="1561087"/>
          <a:ext cx="2537984" cy="75381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600" dirty="0" smtClean="0">
              <a:solidFill>
                <a:sysClr val="windowText" lastClr="000000"/>
              </a:solidFill>
              <a:latin typeface="Lato"/>
              <a:ea typeface="+mn-ea"/>
              <a:cs typeface="+mn-cs"/>
            </a:rPr>
            <a:t>Review and automate compliance functions</a:t>
          </a:r>
          <a:endParaRPr lang="en-GB" sz="1600" dirty="0">
            <a:solidFill>
              <a:sysClr val="windowText" lastClr="000000"/>
            </a:solidFill>
            <a:latin typeface="Lato"/>
            <a:ea typeface="+mn-ea"/>
            <a:cs typeface="+mn-cs"/>
          </a:endParaRPr>
        </a:p>
      </dgm:t>
    </dgm:pt>
    <dgm:pt modelId="{5E41AA33-18C8-4417-B53F-484A14595051}" type="parTrans" cxnId="{694ED9D8-997C-40CB-B2B9-9CA76F6EEBD1}">
      <dgm:prSet/>
      <dgm:spPr>
        <a:xfrm>
          <a:off x="8909823" y="1516758"/>
          <a:ext cx="165814" cy="421235"/>
        </a:xfrm>
        <a:noFill/>
        <a:ln w="12700" cap="flat" cmpd="sng" algn="ctr">
          <a:noFill/>
          <a:prstDash val="solid"/>
          <a:miter lim="800000"/>
        </a:ln>
        <a:effectLst/>
      </dgm:spPr>
      <dgm:t>
        <a:bodyPr/>
        <a:lstStyle/>
        <a:p>
          <a:endParaRPr lang="en-GB"/>
        </a:p>
      </dgm:t>
    </dgm:pt>
    <dgm:pt modelId="{282FF86C-1827-4838-A6BF-3FFDB505CF60}" type="sibTrans" cxnId="{694ED9D8-997C-40CB-B2B9-9CA76F6EEBD1}">
      <dgm:prSet/>
      <dgm:spPr/>
      <dgm:t>
        <a:bodyPr/>
        <a:lstStyle/>
        <a:p>
          <a:endParaRPr lang="en-GB"/>
        </a:p>
      </dgm:t>
    </dgm:pt>
    <dgm:pt modelId="{8B3B7F3F-9569-4813-B483-35B81A80F496}">
      <dgm:prSet phldrT="[Text]" custT="1"/>
      <dgm:spPr>
        <a:xfrm>
          <a:off x="8911524" y="2401935"/>
          <a:ext cx="2537984" cy="75381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Review the current supply chain management operating model and awarding of contracts</a:t>
          </a:r>
          <a:endParaRPr lang="en-GB" sz="1200" dirty="0">
            <a:solidFill>
              <a:sysClr val="windowText" lastClr="000000"/>
            </a:solidFill>
            <a:latin typeface="Lato"/>
            <a:ea typeface="+mn-ea"/>
            <a:cs typeface="+mn-cs"/>
          </a:endParaRPr>
        </a:p>
      </dgm:t>
    </dgm:pt>
    <dgm:pt modelId="{2E1B0A68-5385-427D-BCDA-B3B9911E240A}" type="parTrans" cxnId="{25D2806F-B49E-47EC-9BA5-D6D37CB1926D}">
      <dgm:prSet/>
      <dgm:spPr>
        <a:xfrm>
          <a:off x="8911524" y="1516758"/>
          <a:ext cx="164113" cy="1262083"/>
        </a:xfrm>
        <a:noFill/>
        <a:ln w="12700" cap="flat" cmpd="sng" algn="ctr">
          <a:noFill/>
          <a:prstDash val="solid"/>
          <a:miter lim="800000"/>
        </a:ln>
        <a:effectLst/>
      </dgm:spPr>
      <dgm:t>
        <a:bodyPr/>
        <a:lstStyle/>
        <a:p>
          <a:endParaRPr lang="en-GB"/>
        </a:p>
      </dgm:t>
    </dgm:pt>
    <dgm:pt modelId="{E0589A92-A73B-4545-A5CA-F7B6316B1541}" type="sibTrans" cxnId="{25D2806F-B49E-47EC-9BA5-D6D37CB1926D}">
      <dgm:prSet/>
      <dgm:spPr/>
      <dgm:t>
        <a:bodyPr/>
        <a:lstStyle/>
        <a:p>
          <a:endParaRPr lang="en-GB"/>
        </a:p>
      </dgm:t>
    </dgm:pt>
    <dgm:pt modelId="{7040D635-CE3C-4D39-B00B-23C0DAD01902}">
      <dgm:prSet phldrT="[Text]" custT="1"/>
      <dgm:spPr>
        <a:xfrm>
          <a:off x="8913674" y="3258740"/>
          <a:ext cx="2537984" cy="9865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150" dirty="0" smtClean="0">
              <a:solidFill>
                <a:sysClr val="windowText" lastClr="000000"/>
              </a:solidFill>
              <a:latin typeface="Lato"/>
              <a:ea typeface="+mn-ea"/>
              <a:cs typeface="+mn-cs"/>
            </a:rPr>
            <a:t>Review the line of sight between HO, Regions and Management Areas by clearly defining roles and responsibilities</a:t>
          </a:r>
          <a:endParaRPr lang="en-GB" sz="1150" dirty="0">
            <a:solidFill>
              <a:sysClr val="windowText" lastClr="000000"/>
            </a:solidFill>
            <a:latin typeface="Lato"/>
            <a:ea typeface="+mn-ea"/>
            <a:cs typeface="+mn-cs"/>
          </a:endParaRPr>
        </a:p>
      </dgm:t>
    </dgm:pt>
    <dgm:pt modelId="{36E96AA5-58BD-4463-8AC7-C7605675329D}" type="parTrans" cxnId="{50B9BF52-DC7F-4486-A63D-688D43797D59}">
      <dgm:prSet/>
      <dgm:spPr>
        <a:xfrm>
          <a:off x="8913674" y="1516758"/>
          <a:ext cx="161963" cy="2235261"/>
        </a:xfrm>
        <a:noFill/>
        <a:ln w="12700" cap="flat" cmpd="sng" algn="ctr">
          <a:noFill/>
          <a:prstDash val="solid"/>
          <a:miter lim="800000"/>
        </a:ln>
        <a:effectLst/>
      </dgm:spPr>
      <dgm:t>
        <a:bodyPr/>
        <a:lstStyle/>
        <a:p>
          <a:endParaRPr lang="en-GB"/>
        </a:p>
      </dgm:t>
    </dgm:pt>
    <dgm:pt modelId="{4DB320F3-DA54-426D-95BE-7952EFF35D61}" type="sibTrans" cxnId="{50B9BF52-DC7F-4486-A63D-688D43797D59}">
      <dgm:prSet/>
      <dgm:spPr/>
      <dgm:t>
        <a:bodyPr/>
        <a:lstStyle/>
        <a:p>
          <a:endParaRPr lang="en-GB"/>
        </a:p>
      </dgm:t>
    </dgm:pt>
    <dgm:pt modelId="{E9A975ED-C728-4E64-B90E-4B505F6C90B9}">
      <dgm:prSet phldrT="[Text]" custT="1"/>
      <dgm:spPr>
        <a:xfrm>
          <a:off x="8919356" y="4331524"/>
          <a:ext cx="2537984" cy="75381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Reorganize Assurance Services to maximize assurance value, optimize operational efficiency</a:t>
          </a:r>
          <a:endParaRPr lang="en-GB" sz="1200" dirty="0">
            <a:solidFill>
              <a:sysClr val="windowText" lastClr="000000"/>
            </a:solidFill>
            <a:latin typeface="Lato"/>
            <a:ea typeface="+mn-ea"/>
            <a:cs typeface="+mn-cs"/>
          </a:endParaRPr>
        </a:p>
      </dgm:t>
    </dgm:pt>
    <dgm:pt modelId="{97E78FE5-005F-480B-ADDD-02C500177BBA}" type="parTrans" cxnId="{2CA59D98-A57E-40DB-862D-332DD9FE11FB}">
      <dgm:prSet/>
      <dgm:spPr>
        <a:xfrm>
          <a:off x="8919356" y="1516758"/>
          <a:ext cx="156281" cy="3191672"/>
        </a:xfrm>
        <a:noFill/>
        <a:ln w="12700" cap="flat" cmpd="sng" algn="ctr">
          <a:noFill/>
          <a:prstDash val="solid"/>
          <a:miter lim="800000"/>
        </a:ln>
        <a:effectLst/>
      </dgm:spPr>
      <dgm:t>
        <a:bodyPr/>
        <a:lstStyle/>
        <a:p>
          <a:endParaRPr lang="en-GB"/>
        </a:p>
      </dgm:t>
    </dgm:pt>
    <dgm:pt modelId="{BD353001-6067-4889-B0B0-5C7A4C228A3C}" type="sibTrans" cxnId="{2CA59D98-A57E-40DB-862D-332DD9FE11FB}">
      <dgm:prSet/>
      <dgm:spPr/>
      <dgm:t>
        <a:bodyPr/>
        <a:lstStyle/>
        <a:p>
          <a:endParaRPr lang="en-GB"/>
        </a:p>
      </dgm:t>
    </dgm:pt>
    <dgm:pt modelId="{4A2B5A49-02C5-4CAF-B182-FD73BC39F0B6}">
      <dgm:prSet phldrT="[Text]" custT="1"/>
      <dgm:spPr>
        <a:xfrm>
          <a:off x="5895680" y="968812"/>
          <a:ext cx="2749662" cy="547946"/>
        </a:xfr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gm:spPr>
      <dgm:t>
        <a:bodyPr/>
        <a:lstStyle/>
        <a:p>
          <a:pPr>
            <a:spcAft>
              <a:spcPts val="0"/>
            </a:spcAft>
          </a:pPr>
          <a:r>
            <a:rPr lang="en-ZA" sz="1100" dirty="0" smtClean="0">
              <a:solidFill>
                <a:sysClr val="windowText" lastClr="000000"/>
              </a:solidFill>
              <a:latin typeface="Lato"/>
              <a:ea typeface="+mn-ea"/>
              <a:cs typeface="+mn-cs"/>
            </a:rPr>
            <a:t>Intervention:</a:t>
          </a:r>
        </a:p>
        <a:p>
          <a:pPr>
            <a:spcAft>
              <a:spcPts val="0"/>
            </a:spcAft>
          </a:pPr>
          <a:r>
            <a:rPr lang="en-ZA" sz="1100" dirty="0" smtClean="0">
              <a:solidFill>
                <a:sysClr val="windowText" lastClr="000000"/>
              </a:solidFill>
              <a:latin typeface="Lato"/>
              <a:ea typeface="+mn-ea"/>
              <a:cs typeface="+mn-cs"/>
            </a:rPr>
            <a:t>Stringent budget management and enhancing self sufficiency</a:t>
          </a:r>
          <a:endParaRPr lang="en-GB" sz="1100" dirty="0">
            <a:solidFill>
              <a:sysClr val="windowText" lastClr="000000"/>
            </a:solidFill>
            <a:latin typeface="Lato"/>
            <a:ea typeface="+mn-ea"/>
            <a:cs typeface="+mn-cs"/>
          </a:endParaRPr>
        </a:p>
      </dgm:t>
    </dgm:pt>
    <dgm:pt modelId="{6FB800BF-C0D2-4431-90AD-DB6C6F916073}" type="parTrans" cxnId="{C7DD373B-A265-4E7E-A96E-3F1BC5B5FC3F}">
      <dgm:prSet/>
      <dgm:spPr>
        <a:xfrm>
          <a:off x="5791576" y="837857"/>
          <a:ext cx="1478935" cy="130955"/>
        </a:xfrm>
        <a:noFill/>
        <a:ln w="12700" cap="flat" cmpd="sng" algn="ctr">
          <a:noFill/>
          <a:prstDash val="solid"/>
          <a:miter lim="800000"/>
        </a:ln>
        <a:effectLst/>
      </dgm:spPr>
      <dgm:t>
        <a:bodyPr/>
        <a:lstStyle/>
        <a:p>
          <a:endParaRPr lang="en-GB"/>
        </a:p>
      </dgm:t>
    </dgm:pt>
    <dgm:pt modelId="{F330B70A-5047-4F52-80F0-426794C12634}" type="sibTrans" cxnId="{C7DD373B-A265-4E7E-A96E-3F1BC5B5FC3F}">
      <dgm:prSet/>
      <dgm:spPr/>
      <dgm:t>
        <a:bodyPr/>
        <a:lstStyle/>
        <a:p>
          <a:endParaRPr lang="en-GB"/>
        </a:p>
      </dgm:t>
    </dgm:pt>
    <dgm:pt modelId="{2D341EAF-8E02-4FFB-8BC7-8E749BCA3386}">
      <dgm:prSet phldrT="[Text]" custT="1"/>
      <dgm:spPr>
        <a:xfrm>
          <a:off x="5928374" y="1633808"/>
          <a:ext cx="2653928" cy="5653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Timely budget reprioritisation and budget controls.</a:t>
          </a:r>
          <a:endParaRPr lang="en-GB" sz="1200" dirty="0" smtClean="0">
            <a:solidFill>
              <a:sysClr val="windowText" lastClr="000000"/>
            </a:solidFill>
            <a:latin typeface="Lato"/>
            <a:ea typeface="+mn-ea"/>
            <a:cs typeface="+mn-cs"/>
          </a:endParaRPr>
        </a:p>
      </dgm:t>
    </dgm:pt>
    <dgm:pt modelId="{0501E4C1-E7FE-472A-A140-201BB0837341}" type="parTrans" cxnId="{FFE56686-CF77-4990-8FC8-B17B0A6C1C82}">
      <dgm:prSet/>
      <dgm:spPr>
        <a:xfrm>
          <a:off x="5928374" y="1516758"/>
          <a:ext cx="242271" cy="399729"/>
        </a:xfrm>
        <a:noFill/>
        <a:ln w="12700" cap="flat" cmpd="sng" algn="ctr">
          <a:noFill/>
          <a:prstDash val="solid"/>
          <a:miter lim="800000"/>
        </a:ln>
        <a:effectLst/>
      </dgm:spPr>
      <dgm:t>
        <a:bodyPr/>
        <a:lstStyle/>
        <a:p>
          <a:endParaRPr lang="en-GB"/>
        </a:p>
      </dgm:t>
    </dgm:pt>
    <dgm:pt modelId="{A8B58A40-33F2-49FA-A4B6-8B1E6A3D8248}" type="sibTrans" cxnId="{FFE56686-CF77-4990-8FC8-B17B0A6C1C82}">
      <dgm:prSet/>
      <dgm:spPr/>
      <dgm:t>
        <a:bodyPr/>
        <a:lstStyle/>
        <a:p>
          <a:endParaRPr lang="en-GB"/>
        </a:p>
      </dgm:t>
    </dgm:pt>
    <dgm:pt modelId="{AEF99AFC-BCE6-483A-9DBF-D4311D315409}">
      <dgm:prSet custT="1"/>
      <dgm:spPr>
        <a:xfrm>
          <a:off x="5912417" y="2387703"/>
          <a:ext cx="2653928" cy="75381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Continuous cost saving initiatives by way of  bid negotiations and strategic procurement initiatives</a:t>
          </a:r>
          <a:endParaRPr lang="en-GB" sz="1200" dirty="0">
            <a:solidFill>
              <a:sysClr val="windowText" lastClr="000000"/>
            </a:solidFill>
            <a:latin typeface="Lato"/>
            <a:ea typeface="+mn-ea"/>
            <a:cs typeface="+mn-cs"/>
          </a:endParaRPr>
        </a:p>
      </dgm:t>
    </dgm:pt>
    <dgm:pt modelId="{944BA3E3-A7DB-42E6-BE3A-27FE8324A05A}" type="sibTrans" cxnId="{9820CA1E-1691-47FA-A880-ED1D5CB29D1B}">
      <dgm:prSet/>
      <dgm:spPr/>
      <dgm:t>
        <a:bodyPr/>
        <a:lstStyle/>
        <a:p>
          <a:endParaRPr lang="en-GB"/>
        </a:p>
      </dgm:t>
    </dgm:pt>
    <dgm:pt modelId="{23C38686-FC84-49F1-B747-F325F35C7D06}" type="parTrans" cxnId="{9820CA1E-1691-47FA-A880-ED1D5CB29D1B}">
      <dgm:prSet/>
      <dgm:spPr>
        <a:xfrm>
          <a:off x="5912417" y="1516758"/>
          <a:ext cx="258228" cy="1247851"/>
        </a:xfrm>
        <a:noFill/>
        <a:ln w="12700" cap="flat" cmpd="sng" algn="ctr">
          <a:noFill/>
          <a:prstDash val="solid"/>
          <a:miter lim="800000"/>
        </a:ln>
        <a:effectLst/>
      </dgm:spPr>
      <dgm:t>
        <a:bodyPr/>
        <a:lstStyle/>
        <a:p>
          <a:endParaRPr lang="en-GB"/>
        </a:p>
      </dgm:t>
    </dgm:pt>
    <dgm:pt modelId="{07A97D4C-A6EA-472B-B9F4-9A14FB6975E8}">
      <dgm:prSet custT="1"/>
      <dgm:spPr>
        <a:xfrm>
          <a:off x="5971849" y="3379332"/>
          <a:ext cx="2653928" cy="1262796"/>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200" dirty="0" smtClean="0">
              <a:solidFill>
                <a:sysClr val="windowText" lastClr="000000"/>
              </a:solidFill>
              <a:latin typeface="Lato"/>
              <a:ea typeface="+mn-ea"/>
              <a:cs typeface="+mn-cs"/>
            </a:rPr>
            <a:t>Contribute towards growing small businesses and cooperatives and designated groups through 30% set aside to support SMME &amp; Cooperatives (PPPFA)</a:t>
          </a:r>
          <a:endParaRPr lang="en-GB" sz="1200" dirty="0" smtClean="0">
            <a:solidFill>
              <a:sysClr val="windowText" lastClr="000000"/>
            </a:solidFill>
            <a:latin typeface="Lato"/>
            <a:ea typeface="+mn-ea"/>
            <a:cs typeface="+mn-cs"/>
          </a:endParaRPr>
        </a:p>
      </dgm:t>
    </dgm:pt>
    <dgm:pt modelId="{50B3E178-BFC2-4416-AC2A-F7733BD7FD55}" type="parTrans" cxnId="{15B14D79-9D12-4039-9189-B36948E4CAA5}">
      <dgm:prSet/>
      <dgm:spPr>
        <a:xfrm>
          <a:off x="5971849" y="1516758"/>
          <a:ext cx="198796" cy="2493971"/>
        </a:xfrm>
        <a:noFill/>
        <a:ln w="12700" cap="flat" cmpd="sng" algn="ctr">
          <a:noFill/>
          <a:prstDash val="solid"/>
          <a:miter lim="800000"/>
        </a:ln>
        <a:effectLst/>
      </dgm:spPr>
      <dgm:t>
        <a:bodyPr/>
        <a:lstStyle/>
        <a:p>
          <a:endParaRPr lang="en-GB"/>
        </a:p>
      </dgm:t>
    </dgm:pt>
    <dgm:pt modelId="{696D6805-C316-41B5-882F-4C7EE821847B}" type="sibTrans" cxnId="{15B14D79-9D12-4039-9189-B36948E4CAA5}">
      <dgm:prSet/>
      <dgm:spPr/>
      <dgm:t>
        <a:bodyPr/>
        <a:lstStyle/>
        <a:p>
          <a:endParaRPr lang="en-GB"/>
        </a:p>
      </dgm:t>
    </dgm:pt>
    <dgm:pt modelId="{32925A20-E0E2-491B-BCB4-1CACA4A7DB4F}">
      <dgm:prSet custT="1"/>
      <dgm:spPr>
        <a:xfrm>
          <a:off x="5987806" y="4856818"/>
          <a:ext cx="2653928" cy="75381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400" dirty="0" smtClean="0">
              <a:solidFill>
                <a:sysClr val="windowText" lastClr="000000"/>
              </a:solidFill>
              <a:latin typeface="Lato"/>
              <a:ea typeface="+mn-ea"/>
              <a:cs typeface="+mn-cs"/>
            </a:rPr>
            <a:t>Expansion of opportunities to increase self sufficiency</a:t>
          </a:r>
          <a:endParaRPr lang="en-GB" sz="1400" dirty="0">
            <a:solidFill>
              <a:sysClr val="windowText" lastClr="000000"/>
            </a:solidFill>
            <a:latin typeface="Lato"/>
            <a:ea typeface="+mn-ea"/>
            <a:cs typeface="+mn-cs"/>
          </a:endParaRPr>
        </a:p>
      </dgm:t>
    </dgm:pt>
    <dgm:pt modelId="{DDFBE557-D867-483E-91FE-2D29EEFD04B9}" type="sibTrans" cxnId="{41DC3BDF-1547-4112-BA11-56902743FF8D}">
      <dgm:prSet/>
      <dgm:spPr/>
      <dgm:t>
        <a:bodyPr/>
        <a:lstStyle/>
        <a:p>
          <a:endParaRPr lang="en-GB"/>
        </a:p>
      </dgm:t>
    </dgm:pt>
    <dgm:pt modelId="{BB821B91-6134-47D8-8488-D39B8F6FB9F5}" type="parTrans" cxnId="{41DC3BDF-1547-4112-BA11-56902743FF8D}">
      <dgm:prSet/>
      <dgm:spPr>
        <a:xfrm>
          <a:off x="5987806" y="1516758"/>
          <a:ext cx="182840" cy="3716966"/>
        </a:xfrm>
        <a:noFill/>
        <a:ln w="12700" cap="flat" cmpd="sng" algn="ctr">
          <a:noFill/>
          <a:prstDash val="solid"/>
          <a:miter lim="800000"/>
        </a:ln>
        <a:effectLst/>
      </dgm:spPr>
      <dgm:t>
        <a:bodyPr/>
        <a:lstStyle/>
        <a:p>
          <a:endParaRPr lang="en-GB"/>
        </a:p>
      </dgm:t>
    </dgm:pt>
    <dgm:pt modelId="{772FF846-B977-4229-8998-FD334892F6D6}">
      <dgm:prSet phldrT="[Text]" custT="1"/>
      <dgm:spPr>
        <a:xfrm>
          <a:off x="3032984" y="5600816"/>
          <a:ext cx="2690278" cy="412353"/>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Approve the appropriate shift system after sufficient staffing has been provided</a:t>
          </a:r>
          <a:endParaRPr lang="en-GB" sz="1050" dirty="0" smtClean="0">
            <a:solidFill>
              <a:sysClr val="windowText" lastClr="000000"/>
            </a:solidFill>
            <a:latin typeface="Lato"/>
            <a:ea typeface="+mn-ea"/>
            <a:cs typeface="+mn-cs"/>
          </a:endParaRPr>
        </a:p>
      </dgm:t>
    </dgm:pt>
    <dgm:pt modelId="{64F965F4-0063-4154-85F6-3E001459EE1E}" type="parTrans" cxnId="{08BF7DC3-15BE-404E-9EFB-7C50D9C07D2F}">
      <dgm:prSet/>
      <dgm:spPr>
        <a:xfrm>
          <a:off x="3032984" y="1508181"/>
          <a:ext cx="189379" cy="4298811"/>
        </a:xfrm>
        <a:noFill/>
        <a:ln w="12700" cap="flat" cmpd="sng" algn="ctr">
          <a:noFill/>
          <a:prstDash val="solid"/>
          <a:miter lim="800000"/>
        </a:ln>
        <a:effectLst/>
      </dgm:spPr>
      <dgm:t>
        <a:bodyPr/>
        <a:lstStyle/>
        <a:p>
          <a:endParaRPr lang="en-GB"/>
        </a:p>
      </dgm:t>
    </dgm:pt>
    <dgm:pt modelId="{CAC25007-4073-4055-B964-CEFD35EB0825}" type="sibTrans" cxnId="{08BF7DC3-15BE-404E-9EFB-7C50D9C07D2F}">
      <dgm:prSet/>
      <dgm:spPr/>
      <dgm:t>
        <a:bodyPr/>
        <a:lstStyle/>
        <a:p>
          <a:endParaRPr lang="en-GB"/>
        </a:p>
      </dgm:t>
    </dgm:pt>
    <dgm:pt modelId="{DE6CB324-04C8-4039-A4A1-2D784450FD41}">
      <dgm:prSet custT="1"/>
      <dgm:spPr>
        <a:xfrm>
          <a:off x="3049376" y="6108111"/>
          <a:ext cx="2690278" cy="508972"/>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900" dirty="0" smtClean="0">
              <a:solidFill>
                <a:sysClr val="windowText" lastClr="000000"/>
              </a:solidFill>
              <a:latin typeface="Lato"/>
              <a:ea typeface="+mn-ea"/>
              <a:cs typeface="+mn-cs"/>
            </a:rPr>
            <a:t>Implement integrated employee health and wellness programmes and training  aligned to COVID 19 SOPs and protocols</a:t>
          </a:r>
          <a:endParaRPr lang="en-GB" sz="900" dirty="0" smtClean="0">
            <a:solidFill>
              <a:sysClr val="windowText" lastClr="000000"/>
            </a:solidFill>
            <a:latin typeface="Lato"/>
            <a:ea typeface="+mn-ea"/>
            <a:cs typeface="+mn-cs"/>
          </a:endParaRPr>
        </a:p>
      </dgm:t>
    </dgm:pt>
    <dgm:pt modelId="{128CD2A8-559B-42A1-B1A9-0396AC1A0AFE}" type="parTrans" cxnId="{3818A852-7E02-4176-9B23-7070054FD95C}">
      <dgm:prSet/>
      <dgm:spPr>
        <a:xfrm>
          <a:off x="3049376" y="1508181"/>
          <a:ext cx="172986" cy="4854416"/>
        </a:xfrm>
        <a:noFill/>
        <a:ln w="12700" cap="flat" cmpd="sng" algn="ctr">
          <a:noFill/>
          <a:prstDash val="solid"/>
          <a:miter lim="800000"/>
        </a:ln>
        <a:effectLst/>
      </dgm:spPr>
      <dgm:t>
        <a:bodyPr/>
        <a:lstStyle/>
        <a:p>
          <a:endParaRPr lang="en-GB"/>
        </a:p>
      </dgm:t>
    </dgm:pt>
    <dgm:pt modelId="{6F693912-8461-40A5-A0DD-40F146CA405B}" type="sibTrans" cxnId="{3818A852-7E02-4176-9B23-7070054FD95C}">
      <dgm:prSet/>
      <dgm:spPr/>
      <dgm:t>
        <a:bodyPr/>
        <a:lstStyle/>
        <a:p>
          <a:endParaRPr lang="en-GB"/>
        </a:p>
      </dgm:t>
    </dgm:pt>
    <dgm:pt modelId="{9002187A-E2EC-4717-831E-102A4221D70E}">
      <dgm:prSet phldrT="[Text]"/>
      <dgm:spPr>
        <a:xfrm>
          <a:off x="8909911" y="5158865"/>
          <a:ext cx="2537984" cy="565359"/>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dirty="0" smtClean="0">
              <a:solidFill>
                <a:sysClr val="windowText" lastClr="000000"/>
              </a:solidFill>
              <a:latin typeface="Lato"/>
              <a:ea typeface="+mn-ea"/>
              <a:cs typeface="+mn-cs"/>
            </a:rPr>
            <a:t>Monitoring of compliance to legislation and prescripts</a:t>
          </a:r>
          <a:endParaRPr lang="en-GB" dirty="0">
            <a:solidFill>
              <a:sysClr val="windowText" lastClr="000000"/>
            </a:solidFill>
            <a:latin typeface="Lato"/>
            <a:ea typeface="+mn-ea"/>
            <a:cs typeface="+mn-cs"/>
          </a:endParaRPr>
        </a:p>
      </dgm:t>
    </dgm:pt>
    <dgm:pt modelId="{4C075103-1FAA-4D49-8304-A018805FFDE8}" type="parTrans" cxnId="{3BA6B1A4-DD46-4EC4-89EB-696660C6E425}">
      <dgm:prSet/>
      <dgm:spPr>
        <a:xfrm>
          <a:off x="8909911" y="1516758"/>
          <a:ext cx="165726" cy="3924786"/>
        </a:xfrm>
        <a:noFill/>
        <a:ln w="12700" cap="flat" cmpd="sng" algn="ctr">
          <a:noFill/>
          <a:prstDash val="solid"/>
          <a:miter lim="800000"/>
        </a:ln>
        <a:effectLst/>
      </dgm:spPr>
      <dgm:t>
        <a:bodyPr/>
        <a:lstStyle/>
        <a:p>
          <a:endParaRPr lang="en-GB"/>
        </a:p>
      </dgm:t>
    </dgm:pt>
    <dgm:pt modelId="{1E658E4A-AB82-4D65-AA86-17D4B91A0032}" type="sibTrans" cxnId="{3BA6B1A4-DD46-4EC4-89EB-696660C6E425}">
      <dgm:prSet/>
      <dgm:spPr/>
      <dgm:t>
        <a:bodyPr/>
        <a:lstStyle/>
        <a:p>
          <a:endParaRPr lang="en-GB"/>
        </a:p>
      </dgm:t>
    </dgm:pt>
    <dgm:pt modelId="{795D8047-9602-4F28-A46F-427EBC32A9A5}">
      <dgm:prSet/>
      <dgm:spPr>
        <a:xfrm>
          <a:off x="8898514" y="5761983"/>
          <a:ext cx="2537984" cy="340231"/>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dirty="0">
              <a:solidFill>
                <a:sysClr val="windowText" lastClr="000000"/>
              </a:solidFill>
              <a:latin typeface="Lato"/>
              <a:ea typeface="+mn-ea"/>
              <a:cs typeface="+mn-cs"/>
            </a:rPr>
            <a:t>Consequence Management</a:t>
          </a:r>
        </a:p>
      </dgm:t>
    </dgm:pt>
    <dgm:pt modelId="{BFBB2B3E-EE3E-4352-9F16-33C8D905B52C}" type="parTrans" cxnId="{1FA7E189-67F7-4787-9D1A-C5E4B2ED2822}">
      <dgm:prSet/>
      <dgm:spPr>
        <a:xfrm>
          <a:off x="8898514" y="1516758"/>
          <a:ext cx="177124" cy="4415340"/>
        </a:xfrm>
        <a:noFill/>
        <a:ln w="12700" cap="flat" cmpd="sng" algn="ctr">
          <a:noFill/>
          <a:prstDash val="solid"/>
          <a:miter lim="800000"/>
        </a:ln>
        <a:effectLst/>
      </dgm:spPr>
      <dgm:t>
        <a:bodyPr/>
        <a:lstStyle/>
        <a:p>
          <a:endParaRPr lang="en-GB"/>
        </a:p>
      </dgm:t>
    </dgm:pt>
    <dgm:pt modelId="{B3E21C83-25C8-42D8-8632-98FE330468CD}" type="sibTrans" cxnId="{1FA7E189-67F7-4787-9D1A-C5E4B2ED2822}">
      <dgm:prSet/>
      <dgm:spPr/>
      <dgm:t>
        <a:bodyPr/>
        <a:lstStyle/>
        <a:p>
          <a:endParaRPr lang="en-GB"/>
        </a:p>
      </dgm:t>
    </dgm:pt>
    <dgm:pt modelId="{7CE8175F-BCF0-4B92-A842-728EC78F57D8}">
      <dgm:prSet/>
      <dgm:spPr>
        <a:xfrm>
          <a:off x="8882393" y="6170843"/>
          <a:ext cx="2537984" cy="340231"/>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GB" dirty="0">
              <a:solidFill>
                <a:sysClr val="windowText" lastClr="000000"/>
              </a:solidFill>
              <a:latin typeface="Lato"/>
              <a:ea typeface="+mn-ea"/>
              <a:cs typeface="+mn-cs"/>
            </a:rPr>
            <a:t>Fraud awareness</a:t>
          </a:r>
        </a:p>
      </dgm:t>
    </dgm:pt>
    <dgm:pt modelId="{3E8566DB-3FD9-4E15-964E-6C880A5BB489}" type="parTrans" cxnId="{4B3AF09B-29B5-432E-8673-8C6752AB21C7}">
      <dgm:prSet/>
      <dgm:spPr>
        <a:xfrm>
          <a:off x="8882393" y="1516758"/>
          <a:ext cx="193244" cy="4824200"/>
        </a:xfrm>
        <a:noFill/>
        <a:ln w="12700" cap="flat" cmpd="sng" algn="ctr">
          <a:noFill/>
          <a:prstDash val="solid"/>
          <a:miter lim="800000"/>
        </a:ln>
        <a:effectLst/>
      </dgm:spPr>
      <dgm:t>
        <a:bodyPr/>
        <a:lstStyle/>
        <a:p>
          <a:endParaRPr lang="en-GB"/>
        </a:p>
      </dgm:t>
    </dgm:pt>
    <dgm:pt modelId="{266FE5F5-DC7C-4293-9928-2DDF57061B31}" type="sibTrans" cxnId="{4B3AF09B-29B5-432E-8673-8C6752AB21C7}">
      <dgm:prSet/>
      <dgm:spPr/>
      <dgm:t>
        <a:bodyPr/>
        <a:lstStyle/>
        <a:p>
          <a:endParaRPr lang="en-GB"/>
        </a:p>
      </dgm:t>
    </dgm:pt>
    <dgm:pt modelId="{9EBBB895-7600-4C5C-AD2A-85DBB7813F37}">
      <dgm:prSet custT="1"/>
      <dgm:spPr>
        <a:xfrm>
          <a:off x="3064190" y="6723406"/>
          <a:ext cx="2690278" cy="340231"/>
        </a:xfrm>
        <a:solidFill>
          <a:srgbClr val="EADFBF"/>
        </a:solidFill>
        <a:ln w="12700" cap="flat" cmpd="sng" algn="ctr">
          <a:solidFill>
            <a:sysClr val="window" lastClr="FFFFFF">
              <a:hueOff val="0"/>
              <a:satOff val="0"/>
              <a:lumOff val="0"/>
              <a:alphaOff val="0"/>
            </a:sysClr>
          </a:solidFill>
          <a:prstDash val="solid"/>
          <a:miter lim="800000"/>
        </a:ln>
        <a:effectLst/>
      </dgm:spPr>
      <dgm:t>
        <a:bodyPr/>
        <a:lstStyle/>
        <a:p>
          <a:r>
            <a:rPr lang="en-ZA" sz="1050" dirty="0" smtClean="0">
              <a:solidFill>
                <a:sysClr val="windowText" lastClr="000000"/>
              </a:solidFill>
              <a:latin typeface="Lato"/>
              <a:ea typeface="+mn-ea"/>
              <a:cs typeface="+mn-cs"/>
            </a:rPr>
            <a:t>Professionalise the Department </a:t>
          </a:r>
          <a:endParaRPr lang="en-GB" sz="1050" dirty="0" smtClean="0">
            <a:solidFill>
              <a:sysClr val="windowText" lastClr="000000"/>
            </a:solidFill>
            <a:latin typeface="Lato"/>
            <a:ea typeface="+mn-ea"/>
            <a:cs typeface="+mn-cs"/>
          </a:endParaRPr>
        </a:p>
      </dgm:t>
    </dgm:pt>
    <dgm:pt modelId="{862E5178-4EA9-49DF-9E29-89AA5E3C5029}" type="parTrans" cxnId="{BBA86DD5-1742-4C9F-84A2-5D74CDCEEAB2}">
      <dgm:prSet/>
      <dgm:spPr>
        <a:xfrm>
          <a:off x="3064190" y="1508181"/>
          <a:ext cx="158173" cy="5385340"/>
        </a:xfrm>
        <a:noFill/>
        <a:ln w="12700" cap="flat" cmpd="sng" algn="ctr">
          <a:noFill/>
          <a:prstDash val="solid"/>
          <a:miter lim="800000"/>
        </a:ln>
        <a:effectLst/>
      </dgm:spPr>
      <dgm:t>
        <a:bodyPr/>
        <a:lstStyle/>
        <a:p>
          <a:endParaRPr lang="en-GB"/>
        </a:p>
      </dgm:t>
    </dgm:pt>
    <dgm:pt modelId="{BF217296-EF35-4EE0-873D-C5A079B5430C}" type="sibTrans" cxnId="{BBA86DD5-1742-4C9F-84A2-5D74CDCEEAB2}">
      <dgm:prSet/>
      <dgm:spPr/>
      <dgm:t>
        <a:bodyPr/>
        <a:lstStyle/>
        <a:p>
          <a:endParaRPr lang="en-GB"/>
        </a:p>
      </dgm:t>
    </dgm:pt>
    <dgm:pt modelId="{C80C8456-3BBA-45FD-AD23-3C06B4C3CF8C}" type="pres">
      <dgm:prSet presAssocID="{AEA21CE9-A7A8-4EE0-8D08-C3300B5032C0}" presName="hierChild1" presStyleCnt="0">
        <dgm:presLayoutVars>
          <dgm:orgChart val="1"/>
          <dgm:chPref val="1"/>
          <dgm:dir/>
          <dgm:animOne val="branch"/>
          <dgm:animLvl val="lvl"/>
          <dgm:resizeHandles/>
        </dgm:presLayoutVars>
      </dgm:prSet>
      <dgm:spPr/>
      <dgm:t>
        <a:bodyPr/>
        <a:lstStyle/>
        <a:p>
          <a:endParaRPr lang="en-GB"/>
        </a:p>
      </dgm:t>
    </dgm:pt>
    <dgm:pt modelId="{F88D0735-F9A5-4838-BF81-5F41B1860C85}" type="pres">
      <dgm:prSet presAssocID="{D9A67AE4-4575-43B7-A6F3-0BD58EA221F0}" presName="hierRoot1" presStyleCnt="0">
        <dgm:presLayoutVars>
          <dgm:hierBranch val="init"/>
        </dgm:presLayoutVars>
      </dgm:prSet>
      <dgm:spPr/>
    </dgm:pt>
    <dgm:pt modelId="{3AF30B77-46B7-4926-8FDC-1C8E1DF50EF1}" type="pres">
      <dgm:prSet presAssocID="{D9A67AE4-4575-43B7-A6F3-0BD58EA221F0}" presName="rootComposite1" presStyleCnt="0"/>
      <dgm:spPr/>
    </dgm:pt>
    <dgm:pt modelId="{4647B7EA-AC87-4476-9537-D181D7693287}" type="pres">
      <dgm:prSet presAssocID="{D9A67AE4-4575-43B7-A6F3-0BD58EA221F0}" presName="rootText1" presStyleLbl="node0" presStyleIdx="0" presStyleCnt="1" custScaleX="1994645" custScaleY="223689" custLinFactNeighborX="12325" custLinFactNeighborY="9666">
        <dgm:presLayoutVars>
          <dgm:chPref val="3"/>
        </dgm:presLayoutVars>
      </dgm:prSet>
      <dgm:spPr>
        <a:prstGeom prst="rect">
          <a:avLst/>
        </a:prstGeom>
      </dgm:spPr>
      <dgm:t>
        <a:bodyPr/>
        <a:lstStyle/>
        <a:p>
          <a:endParaRPr lang="en-GB"/>
        </a:p>
      </dgm:t>
    </dgm:pt>
    <dgm:pt modelId="{11C8C23B-B493-47C5-9205-B34A41C8E805}" type="pres">
      <dgm:prSet presAssocID="{D9A67AE4-4575-43B7-A6F3-0BD58EA221F0}" presName="rootConnector1" presStyleLbl="node1" presStyleIdx="0" presStyleCnt="0"/>
      <dgm:spPr/>
      <dgm:t>
        <a:bodyPr/>
        <a:lstStyle/>
        <a:p>
          <a:endParaRPr lang="en-GB"/>
        </a:p>
      </dgm:t>
    </dgm:pt>
    <dgm:pt modelId="{6ADA6EB7-E841-4017-AB6F-9758EC075640}" type="pres">
      <dgm:prSet presAssocID="{D9A67AE4-4575-43B7-A6F3-0BD58EA221F0}" presName="hierChild2" presStyleCnt="0"/>
      <dgm:spPr/>
    </dgm:pt>
    <dgm:pt modelId="{D8734DF8-E79C-44E6-9764-7B2B826E2D1C}" type="pres">
      <dgm:prSet presAssocID="{3DAC40A4-5971-441F-9133-8187AFA97BC7}" presName="Name37" presStyleLbl="parChTrans1D2" presStyleIdx="0" presStyleCnt="4"/>
      <dgm:spPr>
        <a:custGeom>
          <a:avLst/>
          <a:gdLst/>
          <a:ahLst/>
          <a:cxnLst/>
          <a:rect l="0" t="0" r="0" b="0"/>
          <a:pathLst>
            <a:path>
              <a:moveTo>
                <a:pt x="4383927" y="0"/>
              </a:moveTo>
              <a:lnTo>
                <a:pt x="4383927" y="54215"/>
              </a:lnTo>
              <a:lnTo>
                <a:pt x="0" y="54215"/>
              </a:lnTo>
              <a:lnTo>
                <a:pt x="0" y="125664"/>
              </a:lnTo>
            </a:path>
          </a:pathLst>
        </a:custGeom>
      </dgm:spPr>
      <dgm:t>
        <a:bodyPr/>
        <a:lstStyle/>
        <a:p>
          <a:endParaRPr lang="en-GB"/>
        </a:p>
      </dgm:t>
    </dgm:pt>
    <dgm:pt modelId="{3BF45422-8F93-428C-91EC-E06D9991B6FE}" type="pres">
      <dgm:prSet presAssocID="{3FA8E52E-41A8-4B79-88F3-ABDEBF17CD17}" presName="hierRoot2" presStyleCnt="0">
        <dgm:presLayoutVars>
          <dgm:hierBranch val="init"/>
        </dgm:presLayoutVars>
      </dgm:prSet>
      <dgm:spPr/>
    </dgm:pt>
    <dgm:pt modelId="{8CEB8CCE-8615-474E-83B5-07DDBEFCE369}" type="pres">
      <dgm:prSet presAssocID="{3FA8E52E-41A8-4B79-88F3-ABDEBF17CD17}" presName="rootComposite" presStyleCnt="0"/>
      <dgm:spPr/>
    </dgm:pt>
    <dgm:pt modelId="{B7CC506E-76AA-4F38-A791-F42D4C7CADF8}" type="pres">
      <dgm:prSet presAssocID="{3FA8E52E-41A8-4B79-88F3-ABDEBF17CD17}" presName="rootText" presStyleLbl="node2" presStyleIdx="0" presStyleCnt="4" custScaleX="489722" custScaleY="161051" custLinFactNeighborX="-5435" custLinFactNeighborY="-26953">
        <dgm:presLayoutVars>
          <dgm:chPref val="3"/>
        </dgm:presLayoutVars>
      </dgm:prSet>
      <dgm:spPr>
        <a:prstGeom prst="rect">
          <a:avLst/>
        </a:prstGeom>
      </dgm:spPr>
      <dgm:t>
        <a:bodyPr/>
        <a:lstStyle/>
        <a:p>
          <a:endParaRPr lang="en-GB"/>
        </a:p>
      </dgm:t>
    </dgm:pt>
    <dgm:pt modelId="{9A3B73B8-A734-4DA9-B323-C843A6C97FD7}" type="pres">
      <dgm:prSet presAssocID="{3FA8E52E-41A8-4B79-88F3-ABDEBF17CD17}" presName="rootConnector" presStyleLbl="node2" presStyleIdx="0" presStyleCnt="4"/>
      <dgm:spPr/>
      <dgm:t>
        <a:bodyPr/>
        <a:lstStyle/>
        <a:p>
          <a:endParaRPr lang="en-GB"/>
        </a:p>
      </dgm:t>
    </dgm:pt>
    <dgm:pt modelId="{EE113FB6-5CEC-4C8E-8E8F-E1126C6E7BAF}" type="pres">
      <dgm:prSet presAssocID="{3FA8E52E-41A8-4B79-88F3-ABDEBF17CD17}" presName="hierChild4" presStyleCnt="0"/>
      <dgm:spPr/>
    </dgm:pt>
    <dgm:pt modelId="{1E6F7728-0201-4A15-AC95-CC7E377B1A72}" type="pres">
      <dgm:prSet presAssocID="{EF5E585F-3673-4CC4-9E22-D48DF4FE27E6}" presName="Name37" presStyleLbl="parChTrans1D3" presStyleIdx="0" presStyleCnt="27"/>
      <dgm:spPr>
        <a:custGeom>
          <a:avLst/>
          <a:gdLst/>
          <a:ahLst/>
          <a:cxnLst/>
          <a:rect l="0" t="0" r="0" b="0"/>
          <a:pathLst>
            <a:path>
              <a:moveTo>
                <a:pt x="196878" y="0"/>
              </a:moveTo>
              <a:lnTo>
                <a:pt x="0" y="477503"/>
              </a:lnTo>
            </a:path>
          </a:pathLst>
        </a:custGeom>
      </dgm:spPr>
      <dgm:t>
        <a:bodyPr/>
        <a:lstStyle/>
        <a:p>
          <a:endParaRPr lang="en-GB"/>
        </a:p>
      </dgm:t>
    </dgm:pt>
    <dgm:pt modelId="{FF7C084A-888B-49ED-9D1D-C688AFE06D8A}" type="pres">
      <dgm:prSet presAssocID="{E506AFA8-1B82-43BC-98C8-F80DC54DD35B}" presName="hierRoot2" presStyleCnt="0">
        <dgm:presLayoutVars>
          <dgm:hierBranch val="init"/>
        </dgm:presLayoutVars>
      </dgm:prSet>
      <dgm:spPr/>
    </dgm:pt>
    <dgm:pt modelId="{5B767B2E-DABF-46EA-AA3A-68FBBCE70CEF}" type="pres">
      <dgm:prSet presAssocID="{E506AFA8-1B82-43BC-98C8-F80DC54DD35B}" presName="rootComposite" presStyleCnt="0"/>
      <dgm:spPr/>
    </dgm:pt>
    <dgm:pt modelId="{AD2E7CCF-8632-48BA-AB5F-38D672160CB7}" type="pres">
      <dgm:prSet presAssocID="{E506AFA8-1B82-43BC-98C8-F80DC54DD35B}" presName="rootText" presStyleLbl="node3" presStyleIdx="0" presStyleCnt="27" custScaleX="428507" custScaleY="208777" custLinFactNeighborX="-96172" custLinFactNeighborY="-36489">
        <dgm:presLayoutVars>
          <dgm:chPref val="3"/>
        </dgm:presLayoutVars>
      </dgm:prSet>
      <dgm:spPr>
        <a:prstGeom prst="rect">
          <a:avLst/>
        </a:prstGeom>
      </dgm:spPr>
      <dgm:t>
        <a:bodyPr/>
        <a:lstStyle/>
        <a:p>
          <a:endParaRPr lang="en-GB"/>
        </a:p>
      </dgm:t>
    </dgm:pt>
    <dgm:pt modelId="{CC4D928E-8FD4-48D7-883D-76404CA06E7E}" type="pres">
      <dgm:prSet presAssocID="{E506AFA8-1B82-43BC-98C8-F80DC54DD35B}" presName="rootConnector" presStyleLbl="node3" presStyleIdx="0" presStyleCnt="27"/>
      <dgm:spPr/>
      <dgm:t>
        <a:bodyPr/>
        <a:lstStyle/>
        <a:p>
          <a:endParaRPr lang="en-GB"/>
        </a:p>
      </dgm:t>
    </dgm:pt>
    <dgm:pt modelId="{FA32E815-7F22-426A-90B0-8E402FE47375}" type="pres">
      <dgm:prSet presAssocID="{E506AFA8-1B82-43BC-98C8-F80DC54DD35B}" presName="hierChild4" presStyleCnt="0"/>
      <dgm:spPr/>
    </dgm:pt>
    <dgm:pt modelId="{18F8BF39-FA26-4730-97B0-68D18375DDD3}" type="pres">
      <dgm:prSet presAssocID="{E506AFA8-1B82-43BC-98C8-F80DC54DD35B}" presName="hierChild5" presStyleCnt="0"/>
      <dgm:spPr/>
    </dgm:pt>
    <dgm:pt modelId="{E69AAF95-112D-4CA3-8B25-A2C1AA2BFB20}" type="pres">
      <dgm:prSet presAssocID="{9C577F41-001A-42AE-AABF-54268D15A364}" presName="Name37" presStyleLbl="parChTrans1D3" presStyleIdx="1" presStyleCnt="27"/>
      <dgm:spPr>
        <a:custGeom>
          <a:avLst/>
          <a:gdLst/>
          <a:ahLst/>
          <a:cxnLst/>
          <a:rect l="0" t="0" r="0" b="0"/>
          <a:pathLst>
            <a:path>
              <a:moveTo>
                <a:pt x="185316" y="0"/>
              </a:moveTo>
              <a:lnTo>
                <a:pt x="0" y="1217657"/>
              </a:lnTo>
            </a:path>
          </a:pathLst>
        </a:custGeom>
      </dgm:spPr>
      <dgm:t>
        <a:bodyPr/>
        <a:lstStyle/>
        <a:p>
          <a:endParaRPr lang="en-GB"/>
        </a:p>
      </dgm:t>
    </dgm:pt>
    <dgm:pt modelId="{80A3AA10-C1FA-471D-A249-6AFB3714DCB8}" type="pres">
      <dgm:prSet presAssocID="{2758B6C3-6786-4A0A-94BA-3C0B87000D62}" presName="hierRoot2" presStyleCnt="0">
        <dgm:presLayoutVars>
          <dgm:hierBranch val="init"/>
        </dgm:presLayoutVars>
      </dgm:prSet>
      <dgm:spPr/>
    </dgm:pt>
    <dgm:pt modelId="{A88FBACF-46A7-4A42-A1E4-BC43DEA31223}" type="pres">
      <dgm:prSet presAssocID="{2758B6C3-6786-4A0A-94BA-3C0B87000D62}" presName="rootComposite" presStyleCnt="0"/>
      <dgm:spPr/>
    </dgm:pt>
    <dgm:pt modelId="{3AC870FB-C26A-455D-A787-26FB8A768500}" type="pres">
      <dgm:prSet presAssocID="{2758B6C3-6786-4A0A-94BA-3C0B87000D62}" presName="rootText" presStyleLbl="node3" presStyleIdx="1" presStyleCnt="27" custScaleX="428507" custScaleY="162382" custLinFactNeighborX="-94473" custLinFactNeighborY="-46524">
        <dgm:presLayoutVars>
          <dgm:chPref val="3"/>
        </dgm:presLayoutVars>
      </dgm:prSet>
      <dgm:spPr>
        <a:prstGeom prst="rect">
          <a:avLst/>
        </a:prstGeom>
      </dgm:spPr>
      <dgm:t>
        <a:bodyPr/>
        <a:lstStyle/>
        <a:p>
          <a:endParaRPr lang="en-GB"/>
        </a:p>
      </dgm:t>
    </dgm:pt>
    <dgm:pt modelId="{E350FF0A-3899-4666-BFBB-4391AE4ED83D}" type="pres">
      <dgm:prSet presAssocID="{2758B6C3-6786-4A0A-94BA-3C0B87000D62}" presName="rootConnector" presStyleLbl="node3" presStyleIdx="1" presStyleCnt="27"/>
      <dgm:spPr/>
      <dgm:t>
        <a:bodyPr/>
        <a:lstStyle/>
        <a:p>
          <a:endParaRPr lang="en-GB"/>
        </a:p>
      </dgm:t>
    </dgm:pt>
    <dgm:pt modelId="{85CF59DE-9063-4A6A-825C-7A44436C0528}" type="pres">
      <dgm:prSet presAssocID="{2758B6C3-6786-4A0A-94BA-3C0B87000D62}" presName="hierChild4" presStyleCnt="0"/>
      <dgm:spPr/>
    </dgm:pt>
    <dgm:pt modelId="{9C2EBD5A-543C-42FB-A080-47829399EF4A}" type="pres">
      <dgm:prSet presAssocID="{2758B6C3-6786-4A0A-94BA-3C0B87000D62}" presName="hierChild5" presStyleCnt="0"/>
      <dgm:spPr/>
    </dgm:pt>
    <dgm:pt modelId="{8912F301-E950-4E0C-B146-0A5185F9A67F}" type="pres">
      <dgm:prSet presAssocID="{6FA0B268-20E6-499D-A943-270BC5C30AC9}" presName="Name37" presStyleLbl="parChTrans1D3" presStyleIdx="2" presStyleCnt="27"/>
      <dgm:spPr>
        <a:custGeom>
          <a:avLst/>
          <a:gdLst/>
          <a:ahLst/>
          <a:cxnLst/>
          <a:rect l="0" t="0" r="0" b="0"/>
          <a:pathLst>
            <a:path>
              <a:moveTo>
                <a:pt x="185316" y="0"/>
              </a:moveTo>
              <a:lnTo>
                <a:pt x="0" y="1875146"/>
              </a:lnTo>
            </a:path>
          </a:pathLst>
        </a:custGeom>
      </dgm:spPr>
      <dgm:t>
        <a:bodyPr/>
        <a:lstStyle/>
        <a:p>
          <a:endParaRPr lang="en-GB"/>
        </a:p>
      </dgm:t>
    </dgm:pt>
    <dgm:pt modelId="{834BCB6B-E703-4F1D-921C-98C1AA78C974}" type="pres">
      <dgm:prSet presAssocID="{2F5C0CB3-A347-4DB6-A843-8920EBFA59B6}" presName="hierRoot2" presStyleCnt="0">
        <dgm:presLayoutVars>
          <dgm:hierBranch val="init"/>
        </dgm:presLayoutVars>
      </dgm:prSet>
      <dgm:spPr/>
    </dgm:pt>
    <dgm:pt modelId="{AF158338-D549-4974-9E57-FC481999E22C}" type="pres">
      <dgm:prSet presAssocID="{2F5C0CB3-A347-4DB6-A843-8920EBFA59B6}" presName="rootComposite" presStyleCnt="0"/>
      <dgm:spPr/>
    </dgm:pt>
    <dgm:pt modelId="{68F9805C-8CAE-4938-9623-6375F921F333}" type="pres">
      <dgm:prSet presAssocID="{2F5C0CB3-A347-4DB6-A843-8920EBFA59B6}" presName="rootText" presStyleLbl="node3" presStyleIdx="2" presStyleCnt="27" custScaleX="428507" custScaleY="166169" custLinFactNeighborX="-94473" custLinFactNeighborY="-59552">
        <dgm:presLayoutVars>
          <dgm:chPref val="3"/>
        </dgm:presLayoutVars>
      </dgm:prSet>
      <dgm:spPr>
        <a:prstGeom prst="rect">
          <a:avLst/>
        </a:prstGeom>
      </dgm:spPr>
      <dgm:t>
        <a:bodyPr/>
        <a:lstStyle/>
        <a:p>
          <a:endParaRPr lang="en-GB"/>
        </a:p>
      </dgm:t>
    </dgm:pt>
    <dgm:pt modelId="{EED161AF-40AD-43B2-8B46-38DF36ECA8B3}" type="pres">
      <dgm:prSet presAssocID="{2F5C0CB3-A347-4DB6-A843-8920EBFA59B6}" presName="rootConnector" presStyleLbl="node3" presStyleIdx="2" presStyleCnt="27"/>
      <dgm:spPr/>
      <dgm:t>
        <a:bodyPr/>
        <a:lstStyle/>
        <a:p>
          <a:endParaRPr lang="en-GB"/>
        </a:p>
      </dgm:t>
    </dgm:pt>
    <dgm:pt modelId="{A48F0EED-10B4-43B4-8314-E035F4FF4276}" type="pres">
      <dgm:prSet presAssocID="{2F5C0CB3-A347-4DB6-A843-8920EBFA59B6}" presName="hierChild4" presStyleCnt="0"/>
      <dgm:spPr/>
    </dgm:pt>
    <dgm:pt modelId="{E10B221C-A66C-4977-B1B3-3DB40C85D802}" type="pres">
      <dgm:prSet presAssocID="{2F5C0CB3-A347-4DB6-A843-8920EBFA59B6}" presName="hierChild5" presStyleCnt="0"/>
      <dgm:spPr/>
    </dgm:pt>
    <dgm:pt modelId="{59553AB9-15C6-41A5-86D0-0A8B70218E8B}" type="pres">
      <dgm:prSet presAssocID="{B0DC9A8E-7A12-4BF0-8A96-882866292D90}" presName="Name37" presStyleLbl="parChTrans1D3" presStyleIdx="3" presStyleCnt="27"/>
      <dgm:spPr>
        <a:custGeom>
          <a:avLst/>
          <a:gdLst/>
          <a:ahLst/>
          <a:cxnLst/>
          <a:rect l="0" t="0" r="0" b="0"/>
          <a:pathLst>
            <a:path>
              <a:moveTo>
                <a:pt x="185316" y="0"/>
              </a:moveTo>
              <a:lnTo>
                <a:pt x="0" y="2574006"/>
              </a:lnTo>
            </a:path>
          </a:pathLst>
        </a:custGeom>
      </dgm:spPr>
      <dgm:t>
        <a:bodyPr/>
        <a:lstStyle/>
        <a:p>
          <a:endParaRPr lang="en-GB"/>
        </a:p>
      </dgm:t>
    </dgm:pt>
    <dgm:pt modelId="{B52134F1-1856-4C86-A778-3A7D191FACBC}" type="pres">
      <dgm:prSet presAssocID="{E59C7045-2EF3-4659-8457-FC2DC2C82928}" presName="hierRoot2" presStyleCnt="0">
        <dgm:presLayoutVars>
          <dgm:hierBranch val="init"/>
        </dgm:presLayoutVars>
      </dgm:prSet>
      <dgm:spPr/>
    </dgm:pt>
    <dgm:pt modelId="{0B4A54DC-C4AF-4F2B-9936-BD4F6AA0CF52}" type="pres">
      <dgm:prSet presAssocID="{E59C7045-2EF3-4659-8457-FC2DC2C82928}" presName="rootComposite" presStyleCnt="0"/>
      <dgm:spPr/>
    </dgm:pt>
    <dgm:pt modelId="{61B4AA93-0842-4D55-B889-C5D4706F273C}" type="pres">
      <dgm:prSet presAssocID="{E59C7045-2EF3-4659-8457-FC2DC2C82928}" presName="rootText" presStyleLbl="node3" presStyleIdx="3" presStyleCnt="27" custScaleX="428507" custScaleY="166169" custLinFactNeighborX="-94473" custLinFactNeighborY="-62314">
        <dgm:presLayoutVars>
          <dgm:chPref val="3"/>
        </dgm:presLayoutVars>
      </dgm:prSet>
      <dgm:spPr>
        <a:prstGeom prst="rect">
          <a:avLst/>
        </a:prstGeom>
      </dgm:spPr>
      <dgm:t>
        <a:bodyPr/>
        <a:lstStyle/>
        <a:p>
          <a:endParaRPr lang="en-GB"/>
        </a:p>
      </dgm:t>
    </dgm:pt>
    <dgm:pt modelId="{E846EEA4-3606-4E73-993D-7A44D043C02F}" type="pres">
      <dgm:prSet presAssocID="{E59C7045-2EF3-4659-8457-FC2DC2C82928}" presName="rootConnector" presStyleLbl="node3" presStyleIdx="3" presStyleCnt="27"/>
      <dgm:spPr/>
      <dgm:t>
        <a:bodyPr/>
        <a:lstStyle/>
        <a:p>
          <a:endParaRPr lang="en-GB"/>
        </a:p>
      </dgm:t>
    </dgm:pt>
    <dgm:pt modelId="{2FA24229-AE3F-44B6-8627-7B111FEBB73B}" type="pres">
      <dgm:prSet presAssocID="{E59C7045-2EF3-4659-8457-FC2DC2C82928}" presName="hierChild4" presStyleCnt="0"/>
      <dgm:spPr/>
    </dgm:pt>
    <dgm:pt modelId="{CC4B2863-8354-4EE9-8135-BEA83B40949F}" type="pres">
      <dgm:prSet presAssocID="{E59C7045-2EF3-4659-8457-FC2DC2C82928}" presName="hierChild5" presStyleCnt="0"/>
      <dgm:spPr/>
    </dgm:pt>
    <dgm:pt modelId="{E2C6E8CA-49E0-4ED9-8590-8C6DE8D745C9}" type="pres">
      <dgm:prSet presAssocID="{AD30EE2C-612E-4D7A-9A9D-63748E547A4E}" presName="Name37" presStyleLbl="parChTrans1D3" presStyleIdx="4" presStyleCnt="27"/>
      <dgm:spPr>
        <a:custGeom>
          <a:avLst/>
          <a:gdLst/>
          <a:ahLst/>
          <a:cxnLst/>
          <a:rect l="0" t="0" r="0" b="0"/>
          <a:pathLst>
            <a:path>
              <a:moveTo>
                <a:pt x="185316" y="0"/>
              </a:moveTo>
              <a:lnTo>
                <a:pt x="0" y="3288818"/>
              </a:lnTo>
            </a:path>
          </a:pathLst>
        </a:custGeom>
      </dgm:spPr>
      <dgm:t>
        <a:bodyPr/>
        <a:lstStyle/>
        <a:p>
          <a:endParaRPr lang="en-GB"/>
        </a:p>
      </dgm:t>
    </dgm:pt>
    <dgm:pt modelId="{0D50DA4F-9586-41F2-91B6-BC19DB900CA3}" type="pres">
      <dgm:prSet presAssocID="{7741473B-E186-4580-BC20-E482C22F84BC}" presName="hierRoot2" presStyleCnt="0">
        <dgm:presLayoutVars>
          <dgm:hierBranch val="init"/>
        </dgm:presLayoutVars>
      </dgm:prSet>
      <dgm:spPr/>
    </dgm:pt>
    <dgm:pt modelId="{9CCCE715-3EF9-48A9-BC41-62EC08586110}" type="pres">
      <dgm:prSet presAssocID="{7741473B-E186-4580-BC20-E482C22F84BC}" presName="rootComposite" presStyleCnt="0"/>
      <dgm:spPr/>
    </dgm:pt>
    <dgm:pt modelId="{3D806196-A09E-42B6-89DA-5DE151B649CC}" type="pres">
      <dgm:prSet presAssocID="{7741473B-E186-4580-BC20-E482C22F84BC}" presName="rootText" presStyleLbl="node3" presStyleIdx="4" presStyleCnt="27" custScaleX="428507" custScaleY="166169" custLinFactNeighborX="-94473" custLinFactNeighborY="-60387">
        <dgm:presLayoutVars>
          <dgm:chPref val="3"/>
        </dgm:presLayoutVars>
      </dgm:prSet>
      <dgm:spPr>
        <a:prstGeom prst="rect">
          <a:avLst/>
        </a:prstGeom>
      </dgm:spPr>
      <dgm:t>
        <a:bodyPr/>
        <a:lstStyle/>
        <a:p>
          <a:endParaRPr lang="en-GB"/>
        </a:p>
      </dgm:t>
    </dgm:pt>
    <dgm:pt modelId="{267C9922-0B84-4AEE-9817-7077676D94D7}" type="pres">
      <dgm:prSet presAssocID="{7741473B-E186-4580-BC20-E482C22F84BC}" presName="rootConnector" presStyleLbl="node3" presStyleIdx="4" presStyleCnt="27"/>
      <dgm:spPr/>
      <dgm:t>
        <a:bodyPr/>
        <a:lstStyle/>
        <a:p>
          <a:endParaRPr lang="en-GB"/>
        </a:p>
      </dgm:t>
    </dgm:pt>
    <dgm:pt modelId="{99A7B307-B6C1-45CF-A195-50D3AFA0DFD9}" type="pres">
      <dgm:prSet presAssocID="{7741473B-E186-4580-BC20-E482C22F84BC}" presName="hierChild4" presStyleCnt="0"/>
      <dgm:spPr/>
    </dgm:pt>
    <dgm:pt modelId="{89B5850F-0E35-45C4-8339-C0B5560752D2}" type="pres">
      <dgm:prSet presAssocID="{7741473B-E186-4580-BC20-E482C22F84BC}" presName="hierChild5" presStyleCnt="0"/>
      <dgm:spPr/>
    </dgm:pt>
    <dgm:pt modelId="{EB7A51C9-2A3B-4023-940F-7A577F808009}" type="pres">
      <dgm:prSet presAssocID="{E6B68188-F1B4-4DE3-B26E-C5597DBA8B4B}" presName="Name37" presStyleLbl="parChTrans1D3" presStyleIdx="5" presStyleCnt="27"/>
      <dgm:spPr>
        <a:custGeom>
          <a:avLst/>
          <a:gdLst/>
          <a:ahLst/>
          <a:cxnLst/>
          <a:rect l="0" t="0" r="0" b="0"/>
          <a:pathLst>
            <a:path>
              <a:moveTo>
                <a:pt x="185316" y="0"/>
              </a:moveTo>
              <a:lnTo>
                <a:pt x="0" y="4099005"/>
              </a:lnTo>
            </a:path>
          </a:pathLst>
        </a:custGeom>
      </dgm:spPr>
      <dgm:t>
        <a:bodyPr/>
        <a:lstStyle/>
        <a:p>
          <a:endParaRPr lang="en-GB"/>
        </a:p>
      </dgm:t>
    </dgm:pt>
    <dgm:pt modelId="{246507F2-0C22-4B24-A251-2A3228A61CE7}" type="pres">
      <dgm:prSet presAssocID="{AC209003-8BA6-44DF-A8F6-9D2C5C73FF0B}" presName="hierRoot2" presStyleCnt="0">
        <dgm:presLayoutVars>
          <dgm:hierBranch val="init"/>
        </dgm:presLayoutVars>
      </dgm:prSet>
      <dgm:spPr/>
    </dgm:pt>
    <dgm:pt modelId="{D77675F7-B28C-4D4B-84E1-B4DD449ADF02}" type="pres">
      <dgm:prSet presAssocID="{AC209003-8BA6-44DF-A8F6-9D2C5C73FF0B}" presName="rootComposite" presStyleCnt="0"/>
      <dgm:spPr/>
    </dgm:pt>
    <dgm:pt modelId="{4C1F4693-C8EA-4D49-A3D3-8D6D9A6A79CE}" type="pres">
      <dgm:prSet presAssocID="{AC209003-8BA6-44DF-A8F6-9D2C5C73FF0B}" presName="rootText" presStyleLbl="node3" presStyleIdx="5" presStyleCnt="27" custScaleX="428507" custScaleY="243573" custLinFactNeighborX="-94473" custLinFactNeighborY="-69130">
        <dgm:presLayoutVars>
          <dgm:chPref val="3"/>
        </dgm:presLayoutVars>
      </dgm:prSet>
      <dgm:spPr>
        <a:prstGeom prst="rect">
          <a:avLst/>
        </a:prstGeom>
      </dgm:spPr>
      <dgm:t>
        <a:bodyPr/>
        <a:lstStyle/>
        <a:p>
          <a:endParaRPr lang="en-GB"/>
        </a:p>
      </dgm:t>
    </dgm:pt>
    <dgm:pt modelId="{6FCF4D04-EFDA-413E-8BA0-F4AD778E5115}" type="pres">
      <dgm:prSet presAssocID="{AC209003-8BA6-44DF-A8F6-9D2C5C73FF0B}" presName="rootConnector" presStyleLbl="node3" presStyleIdx="5" presStyleCnt="27"/>
      <dgm:spPr/>
      <dgm:t>
        <a:bodyPr/>
        <a:lstStyle/>
        <a:p>
          <a:endParaRPr lang="en-GB"/>
        </a:p>
      </dgm:t>
    </dgm:pt>
    <dgm:pt modelId="{A0FB8380-7C63-4614-AC2A-5B0EBE61DAFD}" type="pres">
      <dgm:prSet presAssocID="{AC209003-8BA6-44DF-A8F6-9D2C5C73FF0B}" presName="hierChild4" presStyleCnt="0"/>
      <dgm:spPr/>
    </dgm:pt>
    <dgm:pt modelId="{CAB8D789-09E7-436B-8A7E-FA0CCF8BC7DA}" type="pres">
      <dgm:prSet presAssocID="{AC209003-8BA6-44DF-A8F6-9D2C5C73FF0B}" presName="hierChild5" presStyleCnt="0"/>
      <dgm:spPr/>
    </dgm:pt>
    <dgm:pt modelId="{CDD23DDC-118A-4A96-B6A6-9F156A5E2A9D}" type="pres">
      <dgm:prSet presAssocID="{3FA8E52E-41A8-4B79-88F3-ABDEBF17CD17}" presName="hierChild5" presStyleCnt="0"/>
      <dgm:spPr/>
    </dgm:pt>
    <dgm:pt modelId="{16194040-5E60-434D-BF92-83FD3BBE53B9}" type="pres">
      <dgm:prSet presAssocID="{C86C1488-BD31-4F23-97DB-7C2B89FF3AD9}" presName="Name37" presStyleLbl="parChTrans1D2" presStyleIdx="1" presStyleCnt="4"/>
      <dgm:spPr>
        <a:custGeom>
          <a:avLst/>
          <a:gdLst/>
          <a:ahLst/>
          <a:cxnLst/>
          <a:rect l="0" t="0" r="0" b="0"/>
          <a:pathLst>
            <a:path>
              <a:moveTo>
                <a:pt x="1469347" y="0"/>
              </a:moveTo>
              <a:lnTo>
                <a:pt x="1469347" y="50929"/>
              </a:lnTo>
              <a:lnTo>
                <a:pt x="0" y="50929"/>
              </a:lnTo>
              <a:lnTo>
                <a:pt x="0" y="122377"/>
              </a:lnTo>
            </a:path>
          </a:pathLst>
        </a:custGeom>
      </dgm:spPr>
      <dgm:t>
        <a:bodyPr/>
        <a:lstStyle/>
        <a:p>
          <a:endParaRPr lang="en-GB"/>
        </a:p>
      </dgm:t>
    </dgm:pt>
    <dgm:pt modelId="{9737D7A7-63F3-48BF-9933-04C5C8E1822C}" type="pres">
      <dgm:prSet presAssocID="{C210B5A7-FC8F-4CFB-888B-78A66105B5E3}" presName="hierRoot2" presStyleCnt="0">
        <dgm:presLayoutVars>
          <dgm:hierBranch val="init"/>
        </dgm:presLayoutVars>
      </dgm:prSet>
      <dgm:spPr/>
    </dgm:pt>
    <dgm:pt modelId="{A972BEBF-FC6A-4D64-AD40-05A77994A454}" type="pres">
      <dgm:prSet presAssocID="{C210B5A7-FC8F-4CFB-888B-78A66105B5E3}" presName="rootComposite" presStyleCnt="0"/>
      <dgm:spPr/>
    </dgm:pt>
    <dgm:pt modelId="{C633A689-B769-440B-A61E-472B58BC51D4}" type="pres">
      <dgm:prSet presAssocID="{C210B5A7-FC8F-4CFB-888B-78A66105B5E3}" presName="rootText" presStyleLbl="node2" presStyleIdx="1" presStyleCnt="4" custScaleX="489722" custScaleY="161051" custLinFactNeighborX="-3390" custLinFactNeighborY="-27919">
        <dgm:presLayoutVars>
          <dgm:chPref val="3"/>
        </dgm:presLayoutVars>
      </dgm:prSet>
      <dgm:spPr>
        <a:prstGeom prst="rect">
          <a:avLst/>
        </a:prstGeom>
      </dgm:spPr>
      <dgm:t>
        <a:bodyPr/>
        <a:lstStyle/>
        <a:p>
          <a:endParaRPr lang="en-GB"/>
        </a:p>
      </dgm:t>
    </dgm:pt>
    <dgm:pt modelId="{BBF4301C-272D-4A88-904A-92188D17DA3C}" type="pres">
      <dgm:prSet presAssocID="{C210B5A7-FC8F-4CFB-888B-78A66105B5E3}" presName="rootConnector" presStyleLbl="node2" presStyleIdx="1" presStyleCnt="4"/>
      <dgm:spPr/>
      <dgm:t>
        <a:bodyPr/>
        <a:lstStyle/>
        <a:p>
          <a:endParaRPr lang="en-GB"/>
        </a:p>
      </dgm:t>
    </dgm:pt>
    <dgm:pt modelId="{D9FC4B45-3F3E-44FD-BCD4-EE579804DF83}" type="pres">
      <dgm:prSet presAssocID="{C210B5A7-FC8F-4CFB-888B-78A66105B5E3}" presName="hierChild4" presStyleCnt="0"/>
      <dgm:spPr/>
    </dgm:pt>
    <dgm:pt modelId="{C981F861-5079-4644-BDF7-785B038AC3AD}" type="pres">
      <dgm:prSet presAssocID="{FF33382B-89C8-4B25-8169-CD7550BE112E}" presName="Name37" presStyleLbl="parChTrans1D3" presStyleIdx="6" presStyleCnt="27"/>
      <dgm:spPr>
        <a:custGeom>
          <a:avLst/>
          <a:gdLst/>
          <a:ahLst/>
          <a:cxnLst/>
          <a:rect l="0" t="0" r="0" b="0"/>
          <a:pathLst>
            <a:path>
              <a:moveTo>
                <a:pt x="216944" y="0"/>
              </a:moveTo>
              <a:lnTo>
                <a:pt x="0" y="281306"/>
              </a:lnTo>
            </a:path>
          </a:pathLst>
        </a:custGeom>
      </dgm:spPr>
      <dgm:t>
        <a:bodyPr/>
        <a:lstStyle/>
        <a:p>
          <a:endParaRPr lang="en-GB"/>
        </a:p>
      </dgm:t>
    </dgm:pt>
    <dgm:pt modelId="{BEBCB5B0-E952-4A7B-B366-2BD915D026FA}" type="pres">
      <dgm:prSet presAssocID="{8258131A-64F0-468E-89FA-30CD74677209}" presName="hierRoot2" presStyleCnt="0">
        <dgm:presLayoutVars>
          <dgm:hierBranch val="init"/>
        </dgm:presLayoutVars>
      </dgm:prSet>
      <dgm:spPr/>
    </dgm:pt>
    <dgm:pt modelId="{45EF025C-4C3D-4E6F-84F2-3559FBE2A839}" type="pres">
      <dgm:prSet presAssocID="{8258131A-64F0-468E-89FA-30CD74677209}" presName="rootComposite" presStyleCnt="0"/>
      <dgm:spPr/>
    </dgm:pt>
    <dgm:pt modelId="{C52F6E7A-06EB-4ED7-9448-A059B6929A94}" type="pres">
      <dgm:prSet presAssocID="{8258131A-64F0-468E-89FA-30CD74677209}" presName="rootText" presStyleLbl="node3" presStyleIdx="6" presStyleCnt="27" custScaleX="489722" custScaleY="133100" custLinFactX="-25585" custLinFactNeighborX="-100000" custLinFactNeighborY="-53788">
        <dgm:presLayoutVars>
          <dgm:chPref val="3"/>
        </dgm:presLayoutVars>
      </dgm:prSet>
      <dgm:spPr>
        <a:prstGeom prst="rect">
          <a:avLst/>
        </a:prstGeom>
      </dgm:spPr>
      <dgm:t>
        <a:bodyPr/>
        <a:lstStyle/>
        <a:p>
          <a:endParaRPr lang="en-GB"/>
        </a:p>
      </dgm:t>
    </dgm:pt>
    <dgm:pt modelId="{A0C33D3F-A411-47FC-90AA-856B0B304567}" type="pres">
      <dgm:prSet presAssocID="{8258131A-64F0-468E-89FA-30CD74677209}" presName="rootConnector" presStyleLbl="node3" presStyleIdx="6" presStyleCnt="27"/>
      <dgm:spPr/>
      <dgm:t>
        <a:bodyPr/>
        <a:lstStyle/>
        <a:p>
          <a:endParaRPr lang="en-GB"/>
        </a:p>
      </dgm:t>
    </dgm:pt>
    <dgm:pt modelId="{A7254F57-CE6A-451A-8333-3E530B873865}" type="pres">
      <dgm:prSet presAssocID="{8258131A-64F0-468E-89FA-30CD74677209}" presName="hierChild4" presStyleCnt="0"/>
      <dgm:spPr/>
    </dgm:pt>
    <dgm:pt modelId="{C4BDD475-7121-4C22-874C-C1A929C08BF4}" type="pres">
      <dgm:prSet presAssocID="{8258131A-64F0-468E-89FA-30CD74677209}" presName="hierChild5" presStyleCnt="0"/>
      <dgm:spPr/>
    </dgm:pt>
    <dgm:pt modelId="{DE8D8668-96E8-4FBC-8F48-E04927E8AF75}" type="pres">
      <dgm:prSet presAssocID="{FD01D34D-5E0D-46CB-A169-082DA7DAD974}" presName="Name37" presStyleLbl="parChTrans1D3" presStyleIdx="7" presStyleCnt="27"/>
      <dgm:spPr>
        <a:custGeom>
          <a:avLst/>
          <a:gdLst/>
          <a:ahLst/>
          <a:cxnLst/>
          <a:rect l="0" t="0" r="0" b="0"/>
          <a:pathLst>
            <a:path>
              <a:moveTo>
                <a:pt x="202723" y="0"/>
              </a:moveTo>
              <a:lnTo>
                <a:pt x="0" y="788523"/>
              </a:lnTo>
            </a:path>
          </a:pathLst>
        </a:custGeom>
      </dgm:spPr>
      <dgm:t>
        <a:bodyPr/>
        <a:lstStyle/>
        <a:p>
          <a:endParaRPr lang="en-GB"/>
        </a:p>
      </dgm:t>
    </dgm:pt>
    <dgm:pt modelId="{88FB0867-D1E0-45B1-BB04-D32B49A053A3}" type="pres">
      <dgm:prSet presAssocID="{DB7FB121-89FA-4FDA-BA06-6EB92D692684}" presName="hierRoot2" presStyleCnt="0">
        <dgm:presLayoutVars>
          <dgm:hierBranch val="init"/>
        </dgm:presLayoutVars>
      </dgm:prSet>
      <dgm:spPr/>
    </dgm:pt>
    <dgm:pt modelId="{BFD5BFA4-C2BA-484A-BD28-7C2D992780AE}" type="pres">
      <dgm:prSet presAssocID="{DB7FB121-89FA-4FDA-BA06-6EB92D692684}" presName="rootComposite" presStyleCnt="0"/>
      <dgm:spPr/>
    </dgm:pt>
    <dgm:pt modelId="{FA874DA8-4D76-40E4-B03F-68097D2BD076}" type="pres">
      <dgm:prSet presAssocID="{DB7FB121-89FA-4FDA-BA06-6EB92D692684}" presName="rootText" presStyleLbl="node3" presStyleIdx="7" presStyleCnt="27" custScaleX="489722" custScaleY="133196" custLinFactX="-23495" custLinFactNeighborX="-100000" custLinFactNeighborY="-79856">
        <dgm:presLayoutVars>
          <dgm:chPref val="3"/>
        </dgm:presLayoutVars>
      </dgm:prSet>
      <dgm:spPr>
        <a:prstGeom prst="rect">
          <a:avLst/>
        </a:prstGeom>
      </dgm:spPr>
      <dgm:t>
        <a:bodyPr/>
        <a:lstStyle/>
        <a:p>
          <a:endParaRPr lang="en-GB"/>
        </a:p>
      </dgm:t>
    </dgm:pt>
    <dgm:pt modelId="{F613A01D-7200-4858-BD85-9D67C40E7C98}" type="pres">
      <dgm:prSet presAssocID="{DB7FB121-89FA-4FDA-BA06-6EB92D692684}" presName="rootConnector" presStyleLbl="node3" presStyleIdx="7" presStyleCnt="27"/>
      <dgm:spPr/>
      <dgm:t>
        <a:bodyPr/>
        <a:lstStyle/>
        <a:p>
          <a:endParaRPr lang="en-GB"/>
        </a:p>
      </dgm:t>
    </dgm:pt>
    <dgm:pt modelId="{D17AC95D-A425-4D2A-BCE1-F8871780ECC2}" type="pres">
      <dgm:prSet presAssocID="{DB7FB121-89FA-4FDA-BA06-6EB92D692684}" presName="hierChild4" presStyleCnt="0"/>
      <dgm:spPr/>
    </dgm:pt>
    <dgm:pt modelId="{26B3467B-C8EA-4D03-9045-021F1A08FBFD}" type="pres">
      <dgm:prSet presAssocID="{DB7FB121-89FA-4FDA-BA06-6EB92D692684}" presName="hierChild5" presStyleCnt="0"/>
      <dgm:spPr/>
    </dgm:pt>
    <dgm:pt modelId="{DF2A5BDB-731B-4743-8645-30CC461A515D}" type="pres">
      <dgm:prSet presAssocID="{4D12AA29-479B-49C6-9FF2-D77C0C9C8CC6}" presName="Name37" presStyleLbl="parChTrans1D3" presStyleIdx="8" presStyleCnt="27"/>
      <dgm:spPr>
        <a:custGeom>
          <a:avLst/>
          <a:gdLst/>
          <a:ahLst/>
          <a:cxnLst/>
          <a:rect l="0" t="0" r="0" b="0"/>
          <a:pathLst>
            <a:path>
              <a:moveTo>
                <a:pt x="202723" y="0"/>
              </a:moveTo>
              <a:lnTo>
                <a:pt x="0" y="1348516"/>
              </a:lnTo>
            </a:path>
          </a:pathLst>
        </a:custGeom>
      </dgm:spPr>
      <dgm:t>
        <a:bodyPr/>
        <a:lstStyle/>
        <a:p>
          <a:endParaRPr lang="en-GB"/>
        </a:p>
      </dgm:t>
    </dgm:pt>
    <dgm:pt modelId="{F222851E-2C4A-438E-84CC-EEBEF9673ED1}" type="pres">
      <dgm:prSet presAssocID="{7520F216-6A93-4900-B03B-1CAE7FDB300B}" presName="hierRoot2" presStyleCnt="0">
        <dgm:presLayoutVars>
          <dgm:hierBranch val="init"/>
        </dgm:presLayoutVars>
      </dgm:prSet>
      <dgm:spPr/>
    </dgm:pt>
    <dgm:pt modelId="{2FA5E372-4952-48CE-9BF7-15A2B7F76045}" type="pres">
      <dgm:prSet presAssocID="{7520F216-6A93-4900-B03B-1CAE7FDB300B}" presName="rootComposite" presStyleCnt="0"/>
      <dgm:spPr/>
    </dgm:pt>
    <dgm:pt modelId="{04410A4D-7DCC-4946-8471-DFD4EE5F71CD}" type="pres">
      <dgm:prSet presAssocID="{7520F216-6A93-4900-B03B-1CAE7FDB300B}" presName="rootText" presStyleLbl="node3" presStyleIdx="8" presStyleCnt="27" custScaleX="489722" custScaleY="156767" custLinFactX="-23495" custLinFactY="-9234" custLinFactNeighborX="-100000" custLinFactNeighborY="-100000">
        <dgm:presLayoutVars>
          <dgm:chPref val="3"/>
        </dgm:presLayoutVars>
      </dgm:prSet>
      <dgm:spPr>
        <a:prstGeom prst="rect">
          <a:avLst/>
        </a:prstGeom>
      </dgm:spPr>
      <dgm:t>
        <a:bodyPr/>
        <a:lstStyle/>
        <a:p>
          <a:endParaRPr lang="en-GB"/>
        </a:p>
      </dgm:t>
    </dgm:pt>
    <dgm:pt modelId="{9D907A16-BA97-49F7-A8E0-04EB9E2BF3A6}" type="pres">
      <dgm:prSet presAssocID="{7520F216-6A93-4900-B03B-1CAE7FDB300B}" presName="rootConnector" presStyleLbl="node3" presStyleIdx="8" presStyleCnt="27"/>
      <dgm:spPr/>
      <dgm:t>
        <a:bodyPr/>
        <a:lstStyle/>
        <a:p>
          <a:endParaRPr lang="en-GB"/>
        </a:p>
      </dgm:t>
    </dgm:pt>
    <dgm:pt modelId="{A90F16CA-A95E-41A3-B02F-4344A4FB0D74}" type="pres">
      <dgm:prSet presAssocID="{7520F216-6A93-4900-B03B-1CAE7FDB300B}" presName="hierChild4" presStyleCnt="0"/>
      <dgm:spPr/>
    </dgm:pt>
    <dgm:pt modelId="{C4475F51-E6C7-4F33-810C-B97B00BA8D02}" type="pres">
      <dgm:prSet presAssocID="{7520F216-6A93-4900-B03B-1CAE7FDB300B}" presName="hierChild5" presStyleCnt="0"/>
      <dgm:spPr/>
    </dgm:pt>
    <dgm:pt modelId="{B743BF5E-8E74-4AA4-AF77-FEB591727596}" type="pres">
      <dgm:prSet presAssocID="{9E6D193C-AE2E-4C60-B40E-8A836963A6ED}" presName="Name37" presStyleLbl="parChTrans1D3" presStyleIdx="9" presStyleCnt="27"/>
      <dgm:spPr>
        <a:custGeom>
          <a:avLst/>
          <a:gdLst/>
          <a:ahLst/>
          <a:cxnLst/>
          <a:rect l="0" t="0" r="0" b="0"/>
          <a:pathLst>
            <a:path>
              <a:moveTo>
                <a:pt x="202723" y="0"/>
              </a:moveTo>
              <a:lnTo>
                <a:pt x="0" y="2076109"/>
              </a:lnTo>
            </a:path>
          </a:pathLst>
        </a:custGeom>
      </dgm:spPr>
      <dgm:t>
        <a:bodyPr/>
        <a:lstStyle/>
        <a:p>
          <a:endParaRPr lang="en-GB"/>
        </a:p>
      </dgm:t>
    </dgm:pt>
    <dgm:pt modelId="{CD5184F5-D5F6-46CC-97B3-EBCFD5902623}" type="pres">
      <dgm:prSet presAssocID="{D6F17EA9-E082-43E6-9D65-85C43DB9E61E}" presName="hierRoot2" presStyleCnt="0">
        <dgm:presLayoutVars>
          <dgm:hierBranch val="init"/>
        </dgm:presLayoutVars>
      </dgm:prSet>
      <dgm:spPr/>
    </dgm:pt>
    <dgm:pt modelId="{C56F44D4-5F14-493A-BE16-DF4F2EFE43BF}" type="pres">
      <dgm:prSet presAssocID="{D6F17EA9-E082-43E6-9D65-85C43DB9E61E}" presName="rootComposite" presStyleCnt="0"/>
      <dgm:spPr/>
    </dgm:pt>
    <dgm:pt modelId="{0E40AEC0-2671-423A-8A47-DC6E1E2C8277}" type="pres">
      <dgm:prSet presAssocID="{D6F17EA9-E082-43E6-9D65-85C43DB9E61E}" presName="rootText" presStyleLbl="node3" presStyleIdx="9" presStyleCnt="27" custScaleX="489722" custScaleY="212756" custLinFactX="-23495" custLinFactY="-32625" custLinFactNeighborX="-100000" custLinFactNeighborY="-100000">
        <dgm:presLayoutVars>
          <dgm:chPref val="3"/>
        </dgm:presLayoutVars>
      </dgm:prSet>
      <dgm:spPr>
        <a:prstGeom prst="rect">
          <a:avLst/>
        </a:prstGeom>
      </dgm:spPr>
      <dgm:t>
        <a:bodyPr/>
        <a:lstStyle/>
        <a:p>
          <a:endParaRPr lang="en-GB"/>
        </a:p>
      </dgm:t>
    </dgm:pt>
    <dgm:pt modelId="{0415C0B4-BF22-4E0A-9719-027F6097DCDD}" type="pres">
      <dgm:prSet presAssocID="{D6F17EA9-E082-43E6-9D65-85C43DB9E61E}" presName="rootConnector" presStyleLbl="node3" presStyleIdx="9" presStyleCnt="27"/>
      <dgm:spPr/>
      <dgm:t>
        <a:bodyPr/>
        <a:lstStyle/>
        <a:p>
          <a:endParaRPr lang="en-GB"/>
        </a:p>
      </dgm:t>
    </dgm:pt>
    <dgm:pt modelId="{0C0E6B72-C126-415D-880A-22C7AC233C4C}" type="pres">
      <dgm:prSet presAssocID="{D6F17EA9-E082-43E6-9D65-85C43DB9E61E}" presName="hierChild4" presStyleCnt="0"/>
      <dgm:spPr/>
    </dgm:pt>
    <dgm:pt modelId="{614B6606-92CC-4D97-B498-7B815EFFBAE7}" type="pres">
      <dgm:prSet presAssocID="{D6F17EA9-E082-43E6-9D65-85C43DB9E61E}" presName="hierChild5" presStyleCnt="0"/>
      <dgm:spPr/>
    </dgm:pt>
    <dgm:pt modelId="{6B9BB72C-C16E-4812-A426-8736B0F4D50D}" type="pres">
      <dgm:prSet presAssocID="{68FB7B31-DBFA-4E20-A5A9-242EBD808708}" presName="Name37" presStyleLbl="parChTrans1D3" presStyleIdx="10" presStyleCnt="27"/>
      <dgm:spPr>
        <a:custGeom>
          <a:avLst/>
          <a:gdLst/>
          <a:ahLst/>
          <a:cxnLst/>
          <a:rect l="0" t="0" r="0" b="0"/>
          <a:pathLst>
            <a:path>
              <a:moveTo>
                <a:pt x="202723" y="0"/>
              </a:moveTo>
              <a:lnTo>
                <a:pt x="0" y="2747474"/>
              </a:lnTo>
            </a:path>
          </a:pathLst>
        </a:custGeom>
      </dgm:spPr>
      <dgm:t>
        <a:bodyPr/>
        <a:lstStyle/>
        <a:p>
          <a:endParaRPr lang="en-GB"/>
        </a:p>
      </dgm:t>
    </dgm:pt>
    <dgm:pt modelId="{F96F047D-A9FC-4FF5-A8C1-941933C779B4}" type="pres">
      <dgm:prSet presAssocID="{A67701C2-2154-49A9-AEE7-642B0F6E0EDA}" presName="hierRoot2" presStyleCnt="0">
        <dgm:presLayoutVars>
          <dgm:hierBranch val="init"/>
        </dgm:presLayoutVars>
      </dgm:prSet>
      <dgm:spPr/>
    </dgm:pt>
    <dgm:pt modelId="{045801E2-3B02-4A8F-9585-6867B7DD31BC}" type="pres">
      <dgm:prSet presAssocID="{A67701C2-2154-49A9-AEE7-642B0F6E0EDA}" presName="rootComposite" presStyleCnt="0"/>
      <dgm:spPr/>
    </dgm:pt>
    <dgm:pt modelId="{EA59485D-2E2F-42CB-B81B-A0E1E3EA3A1C}" type="pres">
      <dgm:prSet presAssocID="{A67701C2-2154-49A9-AEE7-642B0F6E0EDA}" presName="rootText" presStyleLbl="node3" presStyleIdx="10" presStyleCnt="27" custScaleX="489722" custScaleY="133196" custLinFactX="-23495" custLinFactY="-57263" custLinFactNeighborX="-100000" custLinFactNeighborY="-100000">
        <dgm:presLayoutVars>
          <dgm:chPref val="3"/>
        </dgm:presLayoutVars>
      </dgm:prSet>
      <dgm:spPr>
        <a:prstGeom prst="rect">
          <a:avLst/>
        </a:prstGeom>
      </dgm:spPr>
      <dgm:t>
        <a:bodyPr/>
        <a:lstStyle/>
        <a:p>
          <a:endParaRPr lang="en-GB"/>
        </a:p>
      </dgm:t>
    </dgm:pt>
    <dgm:pt modelId="{3C113E1E-FE54-4128-B244-37B8276C710C}" type="pres">
      <dgm:prSet presAssocID="{A67701C2-2154-49A9-AEE7-642B0F6E0EDA}" presName="rootConnector" presStyleLbl="node3" presStyleIdx="10" presStyleCnt="27"/>
      <dgm:spPr/>
      <dgm:t>
        <a:bodyPr/>
        <a:lstStyle/>
        <a:p>
          <a:endParaRPr lang="en-GB"/>
        </a:p>
      </dgm:t>
    </dgm:pt>
    <dgm:pt modelId="{94918608-EE8D-46B0-BBEE-532A885864C4}" type="pres">
      <dgm:prSet presAssocID="{A67701C2-2154-49A9-AEE7-642B0F6E0EDA}" presName="hierChild4" presStyleCnt="0"/>
      <dgm:spPr/>
    </dgm:pt>
    <dgm:pt modelId="{0351236A-BFB1-48C2-9E8E-AB3FA5B6820D}" type="pres">
      <dgm:prSet presAssocID="{A67701C2-2154-49A9-AEE7-642B0F6E0EDA}" presName="hierChild5" presStyleCnt="0"/>
      <dgm:spPr/>
    </dgm:pt>
    <dgm:pt modelId="{36BF8A7A-9D89-41C0-8B99-0645BE0B5C9B}" type="pres">
      <dgm:prSet presAssocID="{84939823-9C1A-4A52-8238-B36504B8A531}" presName="Name37" presStyleLbl="parChTrans1D3" presStyleIdx="11" presStyleCnt="27"/>
      <dgm:spPr>
        <a:custGeom>
          <a:avLst/>
          <a:gdLst/>
          <a:ahLst/>
          <a:cxnLst/>
          <a:rect l="0" t="0" r="0" b="0"/>
          <a:pathLst>
            <a:path>
              <a:moveTo>
                <a:pt x="202723" y="0"/>
              </a:moveTo>
              <a:lnTo>
                <a:pt x="0" y="3267712"/>
              </a:lnTo>
            </a:path>
          </a:pathLst>
        </a:custGeom>
      </dgm:spPr>
      <dgm:t>
        <a:bodyPr/>
        <a:lstStyle/>
        <a:p>
          <a:endParaRPr lang="en-GB"/>
        </a:p>
      </dgm:t>
    </dgm:pt>
    <dgm:pt modelId="{38485F78-C0C3-43BA-9E36-BF58157B13ED}" type="pres">
      <dgm:prSet presAssocID="{AD9B6B29-76D5-426B-93B6-5BFE62AB229B}" presName="hierRoot2" presStyleCnt="0">
        <dgm:presLayoutVars>
          <dgm:hierBranch val="init"/>
        </dgm:presLayoutVars>
      </dgm:prSet>
      <dgm:spPr/>
    </dgm:pt>
    <dgm:pt modelId="{7D166BD7-9271-4007-8979-6A6AC379B8BB}" type="pres">
      <dgm:prSet presAssocID="{AD9B6B29-76D5-426B-93B6-5BFE62AB229B}" presName="rootComposite" presStyleCnt="0"/>
      <dgm:spPr/>
    </dgm:pt>
    <dgm:pt modelId="{69577400-3728-444D-96E5-E59C84094316}" type="pres">
      <dgm:prSet presAssocID="{AD9B6B29-76D5-426B-93B6-5BFE62AB229B}" presName="rootText" presStyleLbl="node3" presStyleIdx="11" presStyleCnt="27" custScaleX="489722" custScaleY="133196" custLinFactX="-23495" custLinFactY="-83046" custLinFactNeighborX="-100000" custLinFactNeighborY="-100000">
        <dgm:presLayoutVars>
          <dgm:chPref val="3"/>
        </dgm:presLayoutVars>
      </dgm:prSet>
      <dgm:spPr>
        <a:prstGeom prst="rect">
          <a:avLst/>
        </a:prstGeom>
      </dgm:spPr>
      <dgm:t>
        <a:bodyPr/>
        <a:lstStyle/>
        <a:p>
          <a:endParaRPr lang="en-GB"/>
        </a:p>
      </dgm:t>
    </dgm:pt>
    <dgm:pt modelId="{BAABFAAE-EC69-4E1F-B78D-D84BCDA0D6AD}" type="pres">
      <dgm:prSet presAssocID="{AD9B6B29-76D5-426B-93B6-5BFE62AB229B}" presName="rootConnector" presStyleLbl="node3" presStyleIdx="11" presStyleCnt="27"/>
      <dgm:spPr/>
      <dgm:t>
        <a:bodyPr/>
        <a:lstStyle/>
        <a:p>
          <a:endParaRPr lang="en-GB"/>
        </a:p>
      </dgm:t>
    </dgm:pt>
    <dgm:pt modelId="{BAF3FA39-621A-4DE6-9C1B-81F51A563D85}" type="pres">
      <dgm:prSet presAssocID="{AD9B6B29-76D5-426B-93B6-5BFE62AB229B}" presName="hierChild4" presStyleCnt="0"/>
      <dgm:spPr/>
    </dgm:pt>
    <dgm:pt modelId="{B2F783A7-FEDE-4B91-A083-2D03DD6B5A32}" type="pres">
      <dgm:prSet presAssocID="{AD9B6B29-76D5-426B-93B6-5BFE62AB229B}" presName="hierChild5" presStyleCnt="0"/>
      <dgm:spPr/>
    </dgm:pt>
    <dgm:pt modelId="{EDD6B248-4CEB-4654-9033-ED2BD107A221}" type="pres">
      <dgm:prSet presAssocID="{53973304-1394-4263-9745-1D093A3A9643}" presName="Name37" presStyleLbl="parChTrans1D3" presStyleIdx="12" presStyleCnt="27"/>
      <dgm:spPr>
        <a:custGeom>
          <a:avLst/>
          <a:gdLst/>
          <a:ahLst/>
          <a:cxnLst/>
          <a:rect l="0" t="0" r="0" b="0"/>
          <a:pathLst>
            <a:path>
              <a:moveTo>
                <a:pt x="205655" y="0"/>
              </a:moveTo>
              <a:lnTo>
                <a:pt x="0" y="3792666"/>
              </a:lnTo>
            </a:path>
          </a:pathLst>
        </a:custGeom>
      </dgm:spPr>
      <dgm:t>
        <a:bodyPr/>
        <a:lstStyle/>
        <a:p>
          <a:endParaRPr lang="en-GB"/>
        </a:p>
      </dgm:t>
    </dgm:pt>
    <dgm:pt modelId="{F59716A7-2858-4185-A535-D6A46C708F35}" type="pres">
      <dgm:prSet presAssocID="{6FFB1031-0A73-4469-BCC7-5B3640D26945}" presName="hierRoot2" presStyleCnt="0">
        <dgm:presLayoutVars>
          <dgm:hierBranch val="init"/>
        </dgm:presLayoutVars>
      </dgm:prSet>
      <dgm:spPr/>
    </dgm:pt>
    <dgm:pt modelId="{3D357C93-C264-4972-9671-30636AA2D4E6}" type="pres">
      <dgm:prSet presAssocID="{6FFB1031-0A73-4469-BCC7-5B3640D26945}" presName="rootComposite" presStyleCnt="0"/>
      <dgm:spPr/>
    </dgm:pt>
    <dgm:pt modelId="{830D38BF-6282-47C5-BAC0-DF00893C467F}" type="pres">
      <dgm:prSet presAssocID="{6FFB1031-0A73-4469-BCC7-5B3640D26945}" presName="rootText" presStyleLbl="node3" presStyleIdx="12" presStyleCnt="27" custScaleX="489722" custScaleY="133196" custLinFactX="-23926" custLinFactY="-100000" custLinFactNeighborX="-100000" custLinFactNeighborY="-107443">
        <dgm:presLayoutVars>
          <dgm:chPref val="3"/>
        </dgm:presLayoutVars>
      </dgm:prSet>
      <dgm:spPr>
        <a:prstGeom prst="rect">
          <a:avLst/>
        </a:prstGeom>
      </dgm:spPr>
      <dgm:t>
        <a:bodyPr/>
        <a:lstStyle/>
        <a:p>
          <a:endParaRPr lang="en-GB"/>
        </a:p>
      </dgm:t>
    </dgm:pt>
    <dgm:pt modelId="{50DD9E39-4F50-40C5-BD65-39D9CA175641}" type="pres">
      <dgm:prSet presAssocID="{6FFB1031-0A73-4469-BCC7-5B3640D26945}" presName="rootConnector" presStyleLbl="node3" presStyleIdx="12" presStyleCnt="27"/>
      <dgm:spPr/>
      <dgm:t>
        <a:bodyPr/>
        <a:lstStyle/>
        <a:p>
          <a:endParaRPr lang="en-GB"/>
        </a:p>
      </dgm:t>
    </dgm:pt>
    <dgm:pt modelId="{0CC16348-B4E0-4B13-985D-E52B186059EA}" type="pres">
      <dgm:prSet presAssocID="{6FFB1031-0A73-4469-BCC7-5B3640D26945}" presName="hierChild4" presStyleCnt="0"/>
      <dgm:spPr/>
    </dgm:pt>
    <dgm:pt modelId="{1D324484-253B-48C3-8F38-36D2065AE951}" type="pres">
      <dgm:prSet presAssocID="{6FFB1031-0A73-4469-BCC7-5B3640D26945}" presName="hierChild5" presStyleCnt="0"/>
      <dgm:spPr/>
    </dgm:pt>
    <dgm:pt modelId="{5FAD3576-45D6-41B4-8CB0-E188125E4354}" type="pres">
      <dgm:prSet presAssocID="{64F965F4-0063-4154-85F6-3E001459EE1E}" presName="Name37" presStyleLbl="parChTrans1D3" presStyleIdx="13" presStyleCnt="27"/>
      <dgm:spPr>
        <a:custGeom>
          <a:avLst/>
          <a:gdLst/>
          <a:ahLst/>
          <a:cxnLst/>
          <a:rect l="0" t="0" r="0" b="0"/>
          <a:pathLst>
            <a:path>
              <a:moveTo>
                <a:pt x="189379" y="0"/>
              </a:moveTo>
              <a:lnTo>
                <a:pt x="0" y="4298811"/>
              </a:lnTo>
            </a:path>
          </a:pathLst>
        </a:custGeom>
      </dgm:spPr>
      <dgm:t>
        <a:bodyPr/>
        <a:lstStyle/>
        <a:p>
          <a:endParaRPr lang="en-GB"/>
        </a:p>
      </dgm:t>
    </dgm:pt>
    <dgm:pt modelId="{FD64AC5D-3B06-4EF8-93BA-4CCDB222F53A}" type="pres">
      <dgm:prSet presAssocID="{772FF846-B977-4229-8998-FD334892F6D6}" presName="hierRoot2" presStyleCnt="0">
        <dgm:presLayoutVars>
          <dgm:hierBranch val="init"/>
        </dgm:presLayoutVars>
      </dgm:prSet>
      <dgm:spPr/>
    </dgm:pt>
    <dgm:pt modelId="{DC936B57-C0BC-40EC-9903-C1566FD66FA2}" type="pres">
      <dgm:prSet presAssocID="{772FF846-B977-4229-8998-FD334892F6D6}" presName="rootComposite" presStyleCnt="0"/>
      <dgm:spPr/>
    </dgm:pt>
    <dgm:pt modelId="{FCD4C20C-521F-4545-939A-8A7799913E93}" type="pres">
      <dgm:prSet presAssocID="{772FF846-B977-4229-8998-FD334892F6D6}" presName="rootText" presStyleLbl="node3" presStyleIdx="13" presStyleCnt="27" custScaleX="489722" custScaleY="121198" custLinFactX="-21534" custLinFactY="-100000" custLinFactNeighborX="-100000" custLinFactNeighborY="-131369">
        <dgm:presLayoutVars>
          <dgm:chPref val="3"/>
        </dgm:presLayoutVars>
      </dgm:prSet>
      <dgm:spPr>
        <a:prstGeom prst="rect">
          <a:avLst/>
        </a:prstGeom>
      </dgm:spPr>
      <dgm:t>
        <a:bodyPr/>
        <a:lstStyle/>
        <a:p>
          <a:endParaRPr lang="en-GB"/>
        </a:p>
      </dgm:t>
    </dgm:pt>
    <dgm:pt modelId="{7095D4F8-1C8A-4F9A-9B63-236944966ED1}" type="pres">
      <dgm:prSet presAssocID="{772FF846-B977-4229-8998-FD334892F6D6}" presName="rootConnector" presStyleLbl="node3" presStyleIdx="13" presStyleCnt="27"/>
      <dgm:spPr/>
      <dgm:t>
        <a:bodyPr/>
        <a:lstStyle/>
        <a:p>
          <a:endParaRPr lang="en-GB"/>
        </a:p>
      </dgm:t>
    </dgm:pt>
    <dgm:pt modelId="{314F22F5-9ABF-4039-8D7C-8B5A5E7D7EC7}" type="pres">
      <dgm:prSet presAssocID="{772FF846-B977-4229-8998-FD334892F6D6}" presName="hierChild4" presStyleCnt="0"/>
      <dgm:spPr/>
    </dgm:pt>
    <dgm:pt modelId="{07DB01D3-0ECB-4E38-AAD6-577396565579}" type="pres">
      <dgm:prSet presAssocID="{772FF846-B977-4229-8998-FD334892F6D6}" presName="hierChild5" presStyleCnt="0"/>
      <dgm:spPr/>
    </dgm:pt>
    <dgm:pt modelId="{C18432C2-F5A3-442A-9977-38AEE04F13DD}" type="pres">
      <dgm:prSet presAssocID="{128CD2A8-559B-42A1-B1A9-0396AC1A0AFE}" presName="Name37" presStyleLbl="parChTrans1D3" presStyleIdx="14" presStyleCnt="27"/>
      <dgm:spPr>
        <a:custGeom>
          <a:avLst/>
          <a:gdLst/>
          <a:ahLst/>
          <a:cxnLst/>
          <a:rect l="0" t="0" r="0" b="0"/>
          <a:pathLst>
            <a:path>
              <a:moveTo>
                <a:pt x="172986" y="0"/>
              </a:moveTo>
              <a:lnTo>
                <a:pt x="0" y="4854416"/>
              </a:lnTo>
            </a:path>
          </a:pathLst>
        </a:custGeom>
      </dgm:spPr>
      <dgm:t>
        <a:bodyPr/>
        <a:lstStyle/>
        <a:p>
          <a:endParaRPr lang="en-GB"/>
        </a:p>
      </dgm:t>
    </dgm:pt>
    <dgm:pt modelId="{6AE34D16-582D-406C-9420-799CC7F5A7AE}" type="pres">
      <dgm:prSet presAssocID="{DE6CB324-04C8-4039-A4A1-2D784450FD41}" presName="hierRoot2" presStyleCnt="0">
        <dgm:presLayoutVars>
          <dgm:hierBranch val="init"/>
        </dgm:presLayoutVars>
      </dgm:prSet>
      <dgm:spPr/>
    </dgm:pt>
    <dgm:pt modelId="{54DDDA25-6982-44A6-A3A4-FD7DD827E08C}" type="pres">
      <dgm:prSet presAssocID="{DE6CB324-04C8-4039-A4A1-2D784450FD41}" presName="rootComposite" presStyleCnt="0"/>
      <dgm:spPr/>
    </dgm:pt>
    <dgm:pt modelId="{B831C22F-984D-4917-BB77-DA19C75E8EEC}" type="pres">
      <dgm:prSet presAssocID="{DE6CB324-04C8-4039-A4A1-2D784450FD41}" presName="rootText" presStyleLbl="node3" presStyleIdx="14" presStyleCnt="27" custScaleX="489722" custScaleY="149596" custLinFactX="-19125" custLinFactY="-100000" custLinFactNeighborX="-100000" custLinFactNeighborY="-155946">
        <dgm:presLayoutVars>
          <dgm:chPref val="3"/>
        </dgm:presLayoutVars>
      </dgm:prSet>
      <dgm:spPr>
        <a:prstGeom prst="rect">
          <a:avLst/>
        </a:prstGeom>
      </dgm:spPr>
      <dgm:t>
        <a:bodyPr/>
        <a:lstStyle/>
        <a:p>
          <a:endParaRPr lang="en-GB"/>
        </a:p>
      </dgm:t>
    </dgm:pt>
    <dgm:pt modelId="{8315F59C-535C-41A3-9977-47ED97AB1D59}" type="pres">
      <dgm:prSet presAssocID="{DE6CB324-04C8-4039-A4A1-2D784450FD41}" presName="rootConnector" presStyleLbl="node3" presStyleIdx="14" presStyleCnt="27"/>
      <dgm:spPr/>
      <dgm:t>
        <a:bodyPr/>
        <a:lstStyle/>
        <a:p>
          <a:endParaRPr lang="en-GB"/>
        </a:p>
      </dgm:t>
    </dgm:pt>
    <dgm:pt modelId="{DDD0FE66-9AAF-4CF9-9EE4-075FBC445F44}" type="pres">
      <dgm:prSet presAssocID="{DE6CB324-04C8-4039-A4A1-2D784450FD41}" presName="hierChild4" presStyleCnt="0"/>
      <dgm:spPr/>
    </dgm:pt>
    <dgm:pt modelId="{46289894-ECFE-4885-B42C-38D755361C48}" type="pres">
      <dgm:prSet presAssocID="{DE6CB324-04C8-4039-A4A1-2D784450FD41}" presName="hierChild5" presStyleCnt="0"/>
      <dgm:spPr/>
    </dgm:pt>
    <dgm:pt modelId="{23EDB892-9EB4-4D68-BBE5-B200E79A66A9}" type="pres">
      <dgm:prSet presAssocID="{862E5178-4EA9-49DF-9E29-89AA5E3C5029}" presName="Name37" presStyleLbl="parChTrans1D3" presStyleIdx="15" presStyleCnt="27"/>
      <dgm:spPr>
        <a:custGeom>
          <a:avLst/>
          <a:gdLst/>
          <a:ahLst/>
          <a:cxnLst/>
          <a:rect l="0" t="0" r="0" b="0"/>
          <a:pathLst>
            <a:path>
              <a:moveTo>
                <a:pt x="158173" y="0"/>
              </a:moveTo>
              <a:lnTo>
                <a:pt x="0" y="5385340"/>
              </a:lnTo>
            </a:path>
          </a:pathLst>
        </a:custGeom>
      </dgm:spPr>
      <dgm:t>
        <a:bodyPr/>
        <a:lstStyle/>
        <a:p>
          <a:endParaRPr lang="en-GB"/>
        </a:p>
      </dgm:t>
    </dgm:pt>
    <dgm:pt modelId="{3018BE9B-499A-46FA-B678-0395BD203C40}" type="pres">
      <dgm:prSet presAssocID="{9EBBB895-7600-4C5C-AD2A-85DBB7813F37}" presName="hierRoot2" presStyleCnt="0">
        <dgm:presLayoutVars>
          <dgm:hierBranch val="init"/>
        </dgm:presLayoutVars>
      </dgm:prSet>
      <dgm:spPr/>
    </dgm:pt>
    <dgm:pt modelId="{77BAEB05-B0AE-43B7-8916-5ABA409AE86C}" type="pres">
      <dgm:prSet presAssocID="{9EBBB895-7600-4C5C-AD2A-85DBB7813F37}" presName="rootComposite" presStyleCnt="0"/>
      <dgm:spPr/>
    </dgm:pt>
    <dgm:pt modelId="{61FA1666-3CB0-4FB2-8C4B-E313F9D14383}" type="pres">
      <dgm:prSet presAssocID="{9EBBB895-7600-4C5C-AD2A-85DBB7813F37}" presName="rootText" presStyleLbl="node3" presStyleIdx="15" presStyleCnt="27" custScaleX="489722" custLinFactX="-22244" custLinFactY="-108170" custLinFactNeighborX="-100000" custLinFactNeighborY="-200000">
        <dgm:presLayoutVars>
          <dgm:chPref val="3"/>
        </dgm:presLayoutVars>
      </dgm:prSet>
      <dgm:spPr>
        <a:prstGeom prst="rect">
          <a:avLst/>
        </a:prstGeom>
      </dgm:spPr>
      <dgm:t>
        <a:bodyPr/>
        <a:lstStyle/>
        <a:p>
          <a:endParaRPr lang="en-GB"/>
        </a:p>
      </dgm:t>
    </dgm:pt>
    <dgm:pt modelId="{14794923-454C-4188-8CA2-A3764EA77813}" type="pres">
      <dgm:prSet presAssocID="{9EBBB895-7600-4C5C-AD2A-85DBB7813F37}" presName="rootConnector" presStyleLbl="node3" presStyleIdx="15" presStyleCnt="27"/>
      <dgm:spPr/>
      <dgm:t>
        <a:bodyPr/>
        <a:lstStyle/>
        <a:p>
          <a:endParaRPr lang="en-GB"/>
        </a:p>
      </dgm:t>
    </dgm:pt>
    <dgm:pt modelId="{28C78716-BDA8-44DC-A378-37545D8133BD}" type="pres">
      <dgm:prSet presAssocID="{9EBBB895-7600-4C5C-AD2A-85DBB7813F37}" presName="hierChild4" presStyleCnt="0"/>
      <dgm:spPr/>
    </dgm:pt>
    <dgm:pt modelId="{4F154440-422F-4F9E-AF96-A0ACF29A387B}" type="pres">
      <dgm:prSet presAssocID="{9EBBB895-7600-4C5C-AD2A-85DBB7813F37}" presName="hierChild5" presStyleCnt="0"/>
      <dgm:spPr/>
    </dgm:pt>
    <dgm:pt modelId="{03DD41D6-FCC6-4D83-AEDC-06B212AA9FF6}" type="pres">
      <dgm:prSet presAssocID="{C210B5A7-FC8F-4CFB-888B-78A66105B5E3}" presName="hierChild5" presStyleCnt="0"/>
      <dgm:spPr/>
    </dgm:pt>
    <dgm:pt modelId="{748B4E46-BCEA-4B90-9F45-8240389CE2F0}" type="pres">
      <dgm:prSet presAssocID="{6FB800BF-C0D2-4431-90AD-DB6C6F916073}" presName="Name37" presStyleLbl="parChTrans1D2" presStyleIdx="2" presStyleCnt="4"/>
      <dgm:spPr>
        <a:custGeom>
          <a:avLst/>
          <a:gdLst/>
          <a:ahLst/>
          <a:cxnLst/>
          <a:rect l="0" t="0" r="0" b="0"/>
          <a:pathLst>
            <a:path>
              <a:moveTo>
                <a:pt x="0" y="0"/>
              </a:moveTo>
              <a:lnTo>
                <a:pt x="0" y="59506"/>
              </a:lnTo>
              <a:lnTo>
                <a:pt x="1478935" y="59506"/>
              </a:lnTo>
              <a:lnTo>
                <a:pt x="1478935" y="130955"/>
              </a:lnTo>
            </a:path>
          </a:pathLst>
        </a:custGeom>
      </dgm:spPr>
      <dgm:t>
        <a:bodyPr/>
        <a:lstStyle/>
        <a:p>
          <a:endParaRPr lang="en-GB"/>
        </a:p>
      </dgm:t>
    </dgm:pt>
    <dgm:pt modelId="{B68D8F3A-DC82-4FFE-B512-7099E3AEA713}" type="pres">
      <dgm:prSet presAssocID="{4A2B5A49-02C5-4CAF-B182-FD73BC39F0B6}" presName="hierRoot2" presStyleCnt="0">
        <dgm:presLayoutVars>
          <dgm:hierBranch val="init"/>
        </dgm:presLayoutVars>
      </dgm:prSet>
      <dgm:spPr/>
    </dgm:pt>
    <dgm:pt modelId="{5BC34B2E-9029-44CF-B05B-F90E38971D23}" type="pres">
      <dgm:prSet presAssocID="{4A2B5A49-02C5-4CAF-B182-FD73BC39F0B6}" presName="rootComposite" presStyleCnt="0"/>
      <dgm:spPr/>
    </dgm:pt>
    <dgm:pt modelId="{A1A7E265-6B33-4908-BF5C-D6CD576CE0F9}" type="pres">
      <dgm:prSet presAssocID="{4A2B5A49-02C5-4CAF-B182-FD73BC39F0B6}" presName="rootText" presStyleLbl="node2" presStyleIdx="2" presStyleCnt="4" custScaleX="489722" custScaleY="161051" custLinFactNeighborX="4799" custLinFactNeighborY="-25398">
        <dgm:presLayoutVars>
          <dgm:chPref val="3"/>
        </dgm:presLayoutVars>
      </dgm:prSet>
      <dgm:spPr>
        <a:prstGeom prst="rect">
          <a:avLst/>
        </a:prstGeom>
      </dgm:spPr>
      <dgm:t>
        <a:bodyPr/>
        <a:lstStyle/>
        <a:p>
          <a:endParaRPr lang="en-GB"/>
        </a:p>
      </dgm:t>
    </dgm:pt>
    <dgm:pt modelId="{439D2B84-4BEE-4138-999D-519850687B31}" type="pres">
      <dgm:prSet presAssocID="{4A2B5A49-02C5-4CAF-B182-FD73BC39F0B6}" presName="rootConnector" presStyleLbl="node2" presStyleIdx="2" presStyleCnt="4"/>
      <dgm:spPr/>
      <dgm:t>
        <a:bodyPr/>
        <a:lstStyle/>
        <a:p>
          <a:endParaRPr lang="en-GB"/>
        </a:p>
      </dgm:t>
    </dgm:pt>
    <dgm:pt modelId="{D7D25BC5-EA56-4E39-91BA-6C064172B7DA}" type="pres">
      <dgm:prSet presAssocID="{4A2B5A49-02C5-4CAF-B182-FD73BC39F0B6}" presName="hierChild4" presStyleCnt="0"/>
      <dgm:spPr/>
    </dgm:pt>
    <dgm:pt modelId="{CA3AC0F8-D2DD-45A4-986D-8A7CA3FCA483}" type="pres">
      <dgm:prSet presAssocID="{0501E4C1-E7FE-472A-A140-201BB0837341}" presName="Name37" presStyleLbl="parChTrans1D3" presStyleIdx="16" presStyleCnt="27"/>
      <dgm:spPr>
        <a:custGeom>
          <a:avLst/>
          <a:gdLst/>
          <a:ahLst/>
          <a:cxnLst/>
          <a:rect l="0" t="0" r="0" b="0"/>
          <a:pathLst>
            <a:path>
              <a:moveTo>
                <a:pt x="242271" y="0"/>
              </a:moveTo>
              <a:lnTo>
                <a:pt x="0" y="399729"/>
              </a:lnTo>
            </a:path>
          </a:pathLst>
        </a:custGeom>
      </dgm:spPr>
      <dgm:t>
        <a:bodyPr/>
        <a:lstStyle/>
        <a:p>
          <a:endParaRPr lang="en-GB"/>
        </a:p>
      </dgm:t>
    </dgm:pt>
    <dgm:pt modelId="{D99DBDFB-ED52-48F3-8D3E-271C50D2B79E}" type="pres">
      <dgm:prSet presAssocID="{2D341EAF-8E02-4FFB-8BC7-8E749BCA3386}" presName="hierRoot2" presStyleCnt="0">
        <dgm:presLayoutVars>
          <dgm:hierBranch val="init"/>
        </dgm:presLayoutVars>
      </dgm:prSet>
      <dgm:spPr/>
    </dgm:pt>
    <dgm:pt modelId="{9B763932-5A53-4A74-B004-D003C43E18EE}" type="pres">
      <dgm:prSet presAssocID="{2D341EAF-8E02-4FFB-8BC7-8E749BCA3386}" presName="rootComposite" presStyleCnt="0"/>
      <dgm:spPr/>
    </dgm:pt>
    <dgm:pt modelId="{889AFA51-C7BD-4939-911F-CB1271EB2AF8}" type="pres">
      <dgm:prSet presAssocID="{2D341EAF-8E02-4FFB-8BC7-8E749BCA3386}" presName="rootText" presStyleLbl="node3" presStyleIdx="16" presStyleCnt="27" custScaleX="489722" custScaleY="166169" custLinFactX="-12383" custLinFactNeighborX="-100000" custLinFactNeighborY="-39983">
        <dgm:presLayoutVars>
          <dgm:chPref val="3"/>
        </dgm:presLayoutVars>
      </dgm:prSet>
      <dgm:spPr>
        <a:prstGeom prst="rect">
          <a:avLst/>
        </a:prstGeom>
      </dgm:spPr>
      <dgm:t>
        <a:bodyPr/>
        <a:lstStyle/>
        <a:p>
          <a:endParaRPr lang="en-GB"/>
        </a:p>
      </dgm:t>
    </dgm:pt>
    <dgm:pt modelId="{A98729FF-77F6-46B8-967E-2555C25F663E}" type="pres">
      <dgm:prSet presAssocID="{2D341EAF-8E02-4FFB-8BC7-8E749BCA3386}" presName="rootConnector" presStyleLbl="node3" presStyleIdx="16" presStyleCnt="27"/>
      <dgm:spPr/>
      <dgm:t>
        <a:bodyPr/>
        <a:lstStyle/>
        <a:p>
          <a:endParaRPr lang="en-GB"/>
        </a:p>
      </dgm:t>
    </dgm:pt>
    <dgm:pt modelId="{F7EF3153-14EB-492F-AE95-D320C0C069FC}" type="pres">
      <dgm:prSet presAssocID="{2D341EAF-8E02-4FFB-8BC7-8E749BCA3386}" presName="hierChild4" presStyleCnt="0"/>
      <dgm:spPr/>
    </dgm:pt>
    <dgm:pt modelId="{A35E699F-E00D-4206-A588-89F62AAE38EC}" type="pres">
      <dgm:prSet presAssocID="{2D341EAF-8E02-4FFB-8BC7-8E749BCA3386}" presName="hierChild5" presStyleCnt="0"/>
      <dgm:spPr/>
    </dgm:pt>
    <dgm:pt modelId="{24EA762B-4AE4-49BB-ACA9-F208C93443F3}" type="pres">
      <dgm:prSet presAssocID="{23C38686-FC84-49F1-B747-F325F35C7D06}" presName="Name37" presStyleLbl="parChTrans1D3" presStyleIdx="17" presStyleCnt="27"/>
      <dgm:spPr>
        <a:custGeom>
          <a:avLst/>
          <a:gdLst/>
          <a:ahLst/>
          <a:cxnLst/>
          <a:rect l="0" t="0" r="0" b="0"/>
          <a:pathLst>
            <a:path>
              <a:moveTo>
                <a:pt x="258228" y="0"/>
              </a:moveTo>
              <a:lnTo>
                <a:pt x="0" y="1247851"/>
              </a:lnTo>
            </a:path>
          </a:pathLst>
        </a:custGeom>
      </dgm:spPr>
      <dgm:t>
        <a:bodyPr/>
        <a:lstStyle/>
        <a:p>
          <a:endParaRPr lang="en-GB"/>
        </a:p>
      </dgm:t>
    </dgm:pt>
    <dgm:pt modelId="{743E9B0D-08DF-427F-823F-CF3DE19E2DA6}" type="pres">
      <dgm:prSet presAssocID="{AEF99AFC-BCE6-483A-9DBF-D4311D315409}" presName="hierRoot2" presStyleCnt="0">
        <dgm:presLayoutVars>
          <dgm:hierBranch val="init"/>
        </dgm:presLayoutVars>
      </dgm:prSet>
      <dgm:spPr/>
    </dgm:pt>
    <dgm:pt modelId="{3099D2FC-CB3B-40A5-B474-CD9965330136}" type="pres">
      <dgm:prSet presAssocID="{AEF99AFC-BCE6-483A-9DBF-D4311D315409}" presName="rootComposite" presStyleCnt="0"/>
      <dgm:spPr/>
    </dgm:pt>
    <dgm:pt modelId="{5566157D-149C-460F-97F5-CE2E5214442B}" type="pres">
      <dgm:prSet presAssocID="{AEF99AFC-BCE6-483A-9DBF-D4311D315409}" presName="rootText" presStyleLbl="node3" presStyleIdx="17" presStyleCnt="27" custScaleX="489722" custScaleY="221559" custLinFactX="-14728" custLinFactNeighborX="-100000" custLinFactNeighborY="-26569">
        <dgm:presLayoutVars>
          <dgm:chPref val="3"/>
        </dgm:presLayoutVars>
      </dgm:prSet>
      <dgm:spPr>
        <a:prstGeom prst="rect">
          <a:avLst/>
        </a:prstGeom>
      </dgm:spPr>
      <dgm:t>
        <a:bodyPr/>
        <a:lstStyle/>
        <a:p>
          <a:endParaRPr lang="en-GB"/>
        </a:p>
      </dgm:t>
    </dgm:pt>
    <dgm:pt modelId="{1278BCC9-713A-42EA-B5C7-590514CE77EA}" type="pres">
      <dgm:prSet presAssocID="{AEF99AFC-BCE6-483A-9DBF-D4311D315409}" presName="rootConnector" presStyleLbl="node3" presStyleIdx="17" presStyleCnt="27"/>
      <dgm:spPr/>
      <dgm:t>
        <a:bodyPr/>
        <a:lstStyle/>
        <a:p>
          <a:endParaRPr lang="en-GB"/>
        </a:p>
      </dgm:t>
    </dgm:pt>
    <dgm:pt modelId="{A81B85AC-D1FE-4D14-88FC-5D972597779D}" type="pres">
      <dgm:prSet presAssocID="{AEF99AFC-BCE6-483A-9DBF-D4311D315409}" presName="hierChild4" presStyleCnt="0"/>
      <dgm:spPr/>
    </dgm:pt>
    <dgm:pt modelId="{316C3BD7-4B8D-418B-8A23-CB0C7576EEFB}" type="pres">
      <dgm:prSet presAssocID="{AEF99AFC-BCE6-483A-9DBF-D4311D315409}" presName="hierChild5" presStyleCnt="0"/>
      <dgm:spPr/>
    </dgm:pt>
    <dgm:pt modelId="{5EE41A7C-9A60-4601-9E7F-353EBE225BC6}" type="pres">
      <dgm:prSet presAssocID="{50B3E178-BFC2-4416-AC2A-F7733BD7FD55}" presName="Name37" presStyleLbl="parChTrans1D3" presStyleIdx="18" presStyleCnt="27"/>
      <dgm:spPr>
        <a:custGeom>
          <a:avLst/>
          <a:gdLst/>
          <a:ahLst/>
          <a:cxnLst/>
          <a:rect l="0" t="0" r="0" b="0"/>
          <a:pathLst>
            <a:path>
              <a:moveTo>
                <a:pt x="198796" y="0"/>
              </a:moveTo>
              <a:lnTo>
                <a:pt x="0" y="2493971"/>
              </a:lnTo>
            </a:path>
          </a:pathLst>
        </a:custGeom>
      </dgm:spPr>
      <dgm:t>
        <a:bodyPr/>
        <a:lstStyle/>
        <a:p>
          <a:endParaRPr lang="en-GB"/>
        </a:p>
      </dgm:t>
    </dgm:pt>
    <dgm:pt modelId="{3808C761-5149-4948-9D45-53A8311C1558}" type="pres">
      <dgm:prSet presAssocID="{07A97D4C-A6EA-472B-B9F4-9A14FB6975E8}" presName="hierRoot2" presStyleCnt="0">
        <dgm:presLayoutVars>
          <dgm:hierBranch val="init"/>
        </dgm:presLayoutVars>
      </dgm:prSet>
      <dgm:spPr/>
    </dgm:pt>
    <dgm:pt modelId="{FEAB8C43-AD8A-416B-AFC7-40621C30E60F}" type="pres">
      <dgm:prSet presAssocID="{07A97D4C-A6EA-472B-B9F4-9A14FB6975E8}" presName="rootComposite" presStyleCnt="0"/>
      <dgm:spPr/>
    </dgm:pt>
    <dgm:pt modelId="{84973679-6F82-4ED4-A935-CA4A0FD0F148}" type="pres">
      <dgm:prSet presAssocID="{07A97D4C-A6EA-472B-B9F4-9A14FB6975E8}" presName="rootText" presStyleLbl="node3" presStyleIdx="18" presStyleCnt="27" custScaleX="489722" custScaleY="371158" custLinFactX="-5994" custLinFactNeighborX="-100000" custLinFactNeighborY="1329">
        <dgm:presLayoutVars>
          <dgm:chPref val="3"/>
        </dgm:presLayoutVars>
      </dgm:prSet>
      <dgm:spPr>
        <a:prstGeom prst="rect">
          <a:avLst/>
        </a:prstGeom>
      </dgm:spPr>
      <dgm:t>
        <a:bodyPr/>
        <a:lstStyle/>
        <a:p>
          <a:endParaRPr lang="en-GB"/>
        </a:p>
      </dgm:t>
    </dgm:pt>
    <dgm:pt modelId="{40F4D01A-1074-4751-950A-F4647C147244}" type="pres">
      <dgm:prSet presAssocID="{07A97D4C-A6EA-472B-B9F4-9A14FB6975E8}" presName="rootConnector" presStyleLbl="node3" presStyleIdx="18" presStyleCnt="27"/>
      <dgm:spPr/>
      <dgm:t>
        <a:bodyPr/>
        <a:lstStyle/>
        <a:p>
          <a:endParaRPr lang="en-GB"/>
        </a:p>
      </dgm:t>
    </dgm:pt>
    <dgm:pt modelId="{27DF98D2-62E1-417C-82E4-D2FE02A4F5FE}" type="pres">
      <dgm:prSet presAssocID="{07A97D4C-A6EA-472B-B9F4-9A14FB6975E8}" presName="hierChild4" presStyleCnt="0"/>
      <dgm:spPr/>
    </dgm:pt>
    <dgm:pt modelId="{89A855E3-C00B-499B-87FC-C1CB1ECF0F4E}" type="pres">
      <dgm:prSet presAssocID="{07A97D4C-A6EA-472B-B9F4-9A14FB6975E8}" presName="hierChild5" presStyleCnt="0"/>
      <dgm:spPr/>
    </dgm:pt>
    <dgm:pt modelId="{FC2A0575-63FD-4437-9846-05FE755CCA4D}" type="pres">
      <dgm:prSet presAssocID="{BB821B91-6134-47D8-8488-D39B8F6FB9F5}" presName="Name37" presStyleLbl="parChTrans1D3" presStyleIdx="19" presStyleCnt="27"/>
      <dgm:spPr>
        <a:custGeom>
          <a:avLst/>
          <a:gdLst/>
          <a:ahLst/>
          <a:cxnLst/>
          <a:rect l="0" t="0" r="0" b="0"/>
          <a:pathLst>
            <a:path>
              <a:moveTo>
                <a:pt x="182840" y="0"/>
              </a:moveTo>
              <a:lnTo>
                <a:pt x="0" y="3716966"/>
              </a:lnTo>
            </a:path>
          </a:pathLst>
        </a:custGeom>
      </dgm:spPr>
      <dgm:t>
        <a:bodyPr/>
        <a:lstStyle/>
        <a:p>
          <a:endParaRPr lang="en-GB"/>
        </a:p>
      </dgm:t>
    </dgm:pt>
    <dgm:pt modelId="{988B3699-602D-4992-9E3E-924521844B38}" type="pres">
      <dgm:prSet presAssocID="{32925A20-E0E2-491B-BCB4-1CACA4A7DB4F}" presName="hierRoot2" presStyleCnt="0">
        <dgm:presLayoutVars>
          <dgm:hierBranch val="init"/>
        </dgm:presLayoutVars>
      </dgm:prSet>
      <dgm:spPr/>
    </dgm:pt>
    <dgm:pt modelId="{8F8D8B90-26CA-4EA2-A128-D53D16BD5520}" type="pres">
      <dgm:prSet presAssocID="{32925A20-E0E2-491B-BCB4-1CACA4A7DB4F}" presName="rootComposite" presStyleCnt="0"/>
      <dgm:spPr/>
    </dgm:pt>
    <dgm:pt modelId="{9185C20B-3F53-4B76-A66A-573CD6C3DBE0}" type="pres">
      <dgm:prSet presAssocID="{32925A20-E0E2-491B-BCB4-1CACA4A7DB4F}" presName="rootText" presStyleLbl="node3" presStyleIdx="19" presStyleCnt="27" custScaleX="489722" custScaleY="221559" custLinFactX="-3649" custLinFactNeighborX="-100000" custLinFactNeighborY="22430">
        <dgm:presLayoutVars>
          <dgm:chPref val="3"/>
        </dgm:presLayoutVars>
      </dgm:prSet>
      <dgm:spPr>
        <a:prstGeom prst="rect">
          <a:avLst/>
        </a:prstGeom>
      </dgm:spPr>
      <dgm:t>
        <a:bodyPr/>
        <a:lstStyle/>
        <a:p>
          <a:endParaRPr lang="en-GB"/>
        </a:p>
      </dgm:t>
    </dgm:pt>
    <dgm:pt modelId="{F7DFF23A-F7C5-477C-B4A9-B17D28FAD8AD}" type="pres">
      <dgm:prSet presAssocID="{32925A20-E0E2-491B-BCB4-1CACA4A7DB4F}" presName="rootConnector" presStyleLbl="node3" presStyleIdx="19" presStyleCnt="27"/>
      <dgm:spPr/>
      <dgm:t>
        <a:bodyPr/>
        <a:lstStyle/>
        <a:p>
          <a:endParaRPr lang="en-GB"/>
        </a:p>
      </dgm:t>
    </dgm:pt>
    <dgm:pt modelId="{7527F933-E877-4C7E-A425-6522C0EA79DC}" type="pres">
      <dgm:prSet presAssocID="{32925A20-E0E2-491B-BCB4-1CACA4A7DB4F}" presName="hierChild4" presStyleCnt="0"/>
      <dgm:spPr/>
    </dgm:pt>
    <dgm:pt modelId="{47E34A57-57F2-49DC-852B-7FFD59F11D0A}" type="pres">
      <dgm:prSet presAssocID="{32925A20-E0E2-491B-BCB4-1CACA4A7DB4F}" presName="hierChild5" presStyleCnt="0"/>
      <dgm:spPr/>
    </dgm:pt>
    <dgm:pt modelId="{93C87654-F184-4CA5-85BD-B0DA8E3B6D6E}" type="pres">
      <dgm:prSet presAssocID="{4A2B5A49-02C5-4CAF-B182-FD73BC39F0B6}" presName="hierChild5" presStyleCnt="0"/>
      <dgm:spPr/>
    </dgm:pt>
    <dgm:pt modelId="{52E9BC89-FDF8-438D-A60C-DC48E0884547}" type="pres">
      <dgm:prSet presAssocID="{D3AB7F58-C8BD-4F52-BA48-1335ECA51BF3}" presName="Name37" presStyleLbl="parChTrans1D2" presStyleIdx="3" presStyleCnt="4"/>
      <dgm:spPr>
        <a:custGeom>
          <a:avLst/>
          <a:gdLst/>
          <a:ahLst/>
          <a:cxnLst/>
          <a:rect l="0" t="0" r="0" b="0"/>
          <a:pathLst>
            <a:path>
              <a:moveTo>
                <a:pt x="0" y="0"/>
              </a:moveTo>
              <a:lnTo>
                <a:pt x="0" y="59506"/>
              </a:lnTo>
              <a:lnTo>
                <a:pt x="4383927" y="59506"/>
              </a:lnTo>
              <a:lnTo>
                <a:pt x="4383927" y="130955"/>
              </a:lnTo>
            </a:path>
          </a:pathLst>
        </a:custGeom>
      </dgm:spPr>
      <dgm:t>
        <a:bodyPr/>
        <a:lstStyle/>
        <a:p>
          <a:endParaRPr lang="en-GB"/>
        </a:p>
      </dgm:t>
    </dgm:pt>
    <dgm:pt modelId="{FF68940A-B349-444C-AA28-D3E810C7133D}" type="pres">
      <dgm:prSet presAssocID="{17012AFC-D3C1-4556-BCA0-69E7EF7D426B}" presName="hierRoot2" presStyleCnt="0">
        <dgm:presLayoutVars>
          <dgm:hierBranch val="init"/>
        </dgm:presLayoutVars>
      </dgm:prSet>
      <dgm:spPr/>
    </dgm:pt>
    <dgm:pt modelId="{6574B68E-08D6-4445-A396-E3011C6F1F1E}" type="pres">
      <dgm:prSet presAssocID="{17012AFC-D3C1-4556-BCA0-69E7EF7D426B}" presName="rootComposite" presStyleCnt="0"/>
      <dgm:spPr/>
    </dgm:pt>
    <dgm:pt modelId="{2034BB97-76EC-478B-8B14-7267569BC1AA}" type="pres">
      <dgm:prSet presAssocID="{17012AFC-D3C1-4556-BCA0-69E7EF7D426B}" presName="rootText" presStyleLbl="node2" presStyleIdx="3" presStyleCnt="4" custScaleX="489722" custScaleY="161051" custLinFactNeighborX="6626" custLinFactNeighborY="-25398">
        <dgm:presLayoutVars>
          <dgm:chPref val="3"/>
        </dgm:presLayoutVars>
      </dgm:prSet>
      <dgm:spPr>
        <a:prstGeom prst="rect">
          <a:avLst/>
        </a:prstGeom>
      </dgm:spPr>
      <dgm:t>
        <a:bodyPr/>
        <a:lstStyle/>
        <a:p>
          <a:endParaRPr lang="en-GB"/>
        </a:p>
      </dgm:t>
    </dgm:pt>
    <dgm:pt modelId="{8A30A787-B8DD-468A-B6C4-47C9516B39E9}" type="pres">
      <dgm:prSet presAssocID="{17012AFC-D3C1-4556-BCA0-69E7EF7D426B}" presName="rootConnector" presStyleLbl="node2" presStyleIdx="3" presStyleCnt="4"/>
      <dgm:spPr/>
      <dgm:t>
        <a:bodyPr/>
        <a:lstStyle/>
        <a:p>
          <a:endParaRPr lang="en-GB"/>
        </a:p>
      </dgm:t>
    </dgm:pt>
    <dgm:pt modelId="{41BF1B5E-8FD9-49C9-A221-D6ACE8B91BB2}" type="pres">
      <dgm:prSet presAssocID="{17012AFC-D3C1-4556-BCA0-69E7EF7D426B}" presName="hierChild4" presStyleCnt="0"/>
      <dgm:spPr/>
    </dgm:pt>
    <dgm:pt modelId="{0964CB70-41C0-4F29-B83E-AE1B76280125}" type="pres">
      <dgm:prSet presAssocID="{5E41AA33-18C8-4417-B53F-484A14595051}" presName="Name37" presStyleLbl="parChTrans1D3" presStyleIdx="20" presStyleCnt="27"/>
      <dgm:spPr>
        <a:custGeom>
          <a:avLst/>
          <a:gdLst/>
          <a:ahLst/>
          <a:cxnLst/>
          <a:rect l="0" t="0" r="0" b="0"/>
          <a:pathLst>
            <a:path>
              <a:moveTo>
                <a:pt x="165814" y="0"/>
              </a:moveTo>
              <a:lnTo>
                <a:pt x="0" y="421235"/>
              </a:lnTo>
            </a:path>
          </a:pathLst>
        </a:custGeom>
      </dgm:spPr>
      <dgm:t>
        <a:bodyPr/>
        <a:lstStyle/>
        <a:p>
          <a:endParaRPr lang="en-GB"/>
        </a:p>
      </dgm:t>
    </dgm:pt>
    <dgm:pt modelId="{263DF04E-9489-43B9-9919-6D4BBFA8FEFA}" type="pres">
      <dgm:prSet presAssocID="{4F00BF85-AC72-481D-BE7B-D4C9F900999E}" presName="hierRoot2" presStyleCnt="0">
        <dgm:presLayoutVars>
          <dgm:hierBranch val="init"/>
        </dgm:presLayoutVars>
      </dgm:prSet>
      <dgm:spPr/>
    </dgm:pt>
    <dgm:pt modelId="{E3F323DD-D680-49A4-969C-D5BAF821034F}" type="pres">
      <dgm:prSet presAssocID="{4F00BF85-AC72-481D-BE7B-D4C9F900999E}" presName="rootComposite" presStyleCnt="0"/>
      <dgm:spPr/>
    </dgm:pt>
    <dgm:pt modelId="{6525961F-8FBD-4859-8DE6-CC029265436B}" type="pres">
      <dgm:prSet presAssocID="{4F00BF85-AC72-481D-BE7B-D4C9F900999E}" presName="rootText" presStyleLbl="node3" presStyleIdx="20" presStyleCnt="27" custScaleX="397900" custScaleY="221559" custLinFactNeighborX="-78355" custLinFactNeighborY="-57863">
        <dgm:presLayoutVars>
          <dgm:chPref val="3"/>
        </dgm:presLayoutVars>
      </dgm:prSet>
      <dgm:spPr>
        <a:prstGeom prst="rect">
          <a:avLst/>
        </a:prstGeom>
      </dgm:spPr>
      <dgm:t>
        <a:bodyPr/>
        <a:lstStyle/>
        <a:p>
          <a:endParaRPr lang="en-GB"/>
        </a:p>
      </dgm:t>
    </dgm:pt>
    <dgm:pt modelId="{74A4E3A4-EC91-46B0-B939-76D9B05E6BDA}" type="pres">
      <dgm:prSet presAssocID="{4F00BF85-AC72-481D-BE7B-D4C9F900999E}" presName="rootConnector" presStyleLbl="node3" presStyleIdx="20" presStyleCnt="27"/>
      <dgm:spPr/>
      <dgm:t>
        <a:bodyPr/>
        <a:lstStyle/>
        <a:p>
          <a:endParaRPr lang="en-GB"/>
        </a:p>
      </dgm:t>
    </dgm:pt>
    <dgm:pt modelId="{C3D653DD-ECF6-4E60-B355-4686266D6C59}" type="pres">
      <dgm:prSet presAssocID="{4F00BF85-AC72-481D-BE7B-D4C9F900999E}" presName="hierChild4" presStyleCnt="0"/>
      <dgm:spPr/>
    </dgm:pt>
    <dgm:pt modelId="{8FB834D5-02D4-4988-BD91-B25BA84DF879}" type="pres">
      <dgm:prSet presAssocID="{4F00BF85-AC72-481D-BE7B-D4C9F900999E}" presName="hierChild5" presStyleCnt="0"/>
      <dgm:spPr/>
    </dgm:pt>
    <dgm:pt modelId="{3B1825C6-1AEF-462F-A1CD-79B8796D71BF}" type="pres">
      <dgm:prSet presAssocID="{2E1B0A68-5385-427D-BCDA-B3B9911E240A}" presName="Name37" presStyleLbl="parChTrans1D3" presStyleIdx="21" presStyleCnt="27"/>
      <dgm:spPr>
        <a:custGeom>
          <a:avLst/>
          <a:gdLst/>
          <a:ahLst/>
          <a:cxnLst/>
          <a:rect l="0" t="0" r="0" b="0"/>
          <a:pathLst>
            <a:path>
              <a:moveTo>
                <a:pt x="164113" y="0"/>
              </a:moveTo>
              <a:lnTo>
                <a:pt x="0" y="1262083"/>
              </a:lnTo>
            </a:path>
          </a:pathLst>
        </a:custGeom>
      </dgm:spPr>
      <dgm:t>
        <a:bodyPr/>
        <a:lstStyle/>
        <a:p>
          <a:endParaRPr lang="en-GB"/>
        </a:p>
      </dgm:t>
    </dgm:pt>
    <dgm:pt modelId="{1F8D0472-FD32-4DED-B15C-7E970B2412C0}" type="pres">
      <dgm:prSet presAssocID="{8B3B7F3F-9569-4813-B483-35B81A80F496}" presName="hierRoot2" presStyleCnt="0">
        <dgm:presLayoutVars>
          <dgm:hierBranch val="init"/>
        </dgm:presLayoutVars>
      </dgm:prSet>
      <dgm:spPr/>
    </dgm:pt>
    <dgm:pt modelId="{9DEDC8FA-ED3E-48E4-AB8D-137BF79A65A7}" type="pres">
      <dgm:prSet presAssocID="{8B3B7F3F-9569-4813-B483-35B81A80F496}" presName="rootComposite" presStyleCnt="0"/>
      <dgm:spPr/>
    </dgm:pt>
    <dgm:pt modelId="{78EE5F20-2D72-4F04-BE3F-8283CA4EB390}" type="pres">
      <dgm:prSet presAssocID="{8B3B7F3F-9569-4813-B483-35B81A80F496}" presName="rootText" presStyleLbl="node3" presStyleIdx="21" presStyleCnt="27" custScaleX="397900" custScaleY="221559" custLinFactNeighborX="-78105" custLinFactNeighborY="-74282">
        <dgm:presLayoutVars>
          <dgm:chPref val="3"/>
        </dgm:presLayoutVars>
      </dgm:prSet>
      <dgm:spPr>
        <a:prstGeom prst="rect">
          <a:avLst/>
        </a:prstGeom>
      </dgm:spPr>
      <dgm:t>
        <a:bodyPr/>
        <a:lstStyle/>
        <a:p>
          <a:endParaRPr lang="en-GB"/>
        </a:p>
      </dgm:t>
    </dgm:pt>
    <dgm:pt modelId="{AF9B3472-43A8-400D-9CD2-962F2F9B4648}" type="pres">
      <dgm:prSet presAssocID="{8B3B7F3F-9569-4813-B483-35B81A80F496}" presName="rootConnector" presStyleLbl="node3" presStyleIdx="21" presStyleCnt="27"/>
      <dgm:spPr/>
      <dgm:t>
        <a:bodyPr/>
        <a:lstStyle/>
        <a:p>
          <a:endParaRPr lang="en-GB"/>
        </a:p>
      </dgm:t>
    </dgm:pt>
    <dgm:pt modelId="{94FAFAF2-B215-4FD2-AE42-95E99BABD887}" type="pres">
      <dgm:prSet presAssocID="{8B3B7F3F-9569-4813-B483-35B81A80F496}" presName="hierChild4" presStyleCnt="0"/>
      <dgm:spPr/>
    </dgm:pt>
    <dgm:pt modelId="{71E9BBD6-E89A-40A3-8262-42160D86FB87}" type="pres">
      <dgm:prSet presAssocID="{8B3B7F3F-9569-4813-B483-35B81A80F496}" presName="hierChild5" presStyleCnt="0"/>
      <dgm:spPr/>
    </dgm:pt>
    <dgm:pt modelId="{4C665A08-AC56-45D8-8D87-B1C7BBA58F7E}" type="pres">
      <dgm:prSet presAssocID="{36E96AA5-58BD-4463-8AC7-C7605675329D}" presName="Name37" presStyleLbl="parChTrans1D3" presStyleIdx="22" presStyleCnt="27"/>
      <dgm:spPr>
        <a:custGeom>
          <a:avLst/>
          <a:gdLst/>
          <a:ahLst/>
          <a:cxnLst/>
          <a:rect l="0" t="0" r="0" b="0"/>
          <a:pathLst>
            <a:path>
              <a:moveTo>
                <a:pt x="161963" y="0"/>
              </a:moveTo>
              <a:lnTo>
                <a:pt x="0" y="2235261"/>
              </a:lnTo>
            </a:path>
          </a:pathLst>
        </a:custGeom>
      </dgm:spPr>
      <dgm:t>
        <a:bodyPr/>
        <a:lstStyle/>
        <a:p>
          <a:endParaRPr lang="en-GB"/>
        </a:p>
      </dgm:t>
    </dgm:pt>
    <dgm:pt modelId="{82262C01-9B44-43CF-8FB1-7BB5BEE6F4FA}" type="pres">
      <dgm:prSet presAssocID="{7040D635-CE3C-4D39-B00B-23C0DAD01902}" presName="hierRoot2" presStyleCnt="0">
        <dgm:presLayoutVars>
          <dgm:hierBranch val="init"/>
        </dgm:presLayoutVars>
      </dgm:prSet>
      <dgm:spPr/>
    </dgm:pt>
    <dgm:pt modelId="{C7A3390F-3E75-4B07-AF4B-15926CB03FCA}" type="pres">
      <dgm:prSet presAssocID="{7040D635-CE3C-4D39-B00B-23C0DAD01902}" presName="rootComposite" presStyleCnt="0"/>
      <dgm:spPr/>
    </dgm:pt>
    <dgm:pt modelId="{C2E3C8C2-963F-46A6-A733-D84654932C5D}" type="pres">
      <dgm:prSet presAssocID="{7040D635-CE3C-4D39-B00B-23C0DAD01902}" presName="rootText" presStyleLbl="node3" presStyleIdx="22" presStyleCnt="27" custScaleX="397900" custScaleY="289967" custLinFactNeighborX="-77789" custLinFactNeighborY="-86011">
        <dgm:presLayoutVars>
          <dgm:chPref val="3"/>
        </dgm:presLayoutVars>
      </dgm:prSet>
      <dgm:spPr>
        <a:prstGeom prst="rect">
          <a:avLst/>
        </a:prstGeom>
      </dgm:spPr>
      <dgm:t>
        <a:bodyPr/>
        <a:lstStyle/>
        <a:p>
          <a:endParaRPr lang="en-GB"/>
        </a:p>
      </dgm:t>
    </dgm:pt>
    <dgm:pt modelId="{77C70671-18DE-43E8-BF2F-71650C01E492}" type="pres">
      <dgm:prSet presAssocID="{7040D635-CE3C-4D39-B00B-23C0DAD01902}" presName="rootConnector" presStyleLbl="node3" presStyleIdx="22" presStyleCnt="27"/>
      <dgm:spPr/>
      <dgm:t>
        <a:bodyPr/>
        <a:lstStyle/>
        <a:p>
          <a:endParaRPr lang="en-GB"/>
        </a:p>
      </dgm:t>
    </dgm:pt>
    <dgm:pt modelId="{4CDCC8AD-A25D-4C3B-8942-D1A0FD71140E}" type="pres">
      <dgm:prSet presAssocID="{7040D635-CE3C-4D39-B00B-23C0DAD01902}" presName="hierChild4" presStyleCnt="0"/>
      <dgm:spPr/>
    </dgm:pt>
    <dgm:pt modelId="{88CAC4A9-BC6A-438D-BA4D-2EE944A0E38F}" type="pres">
      <dgm:prSet presAssocID="{7040D635-CE3C-4D39-B00B-23C0DAD01902}" presName="hierChild5" presStyleCnt="0"/>
      <dgm:spPr/>
    </dgm:pt>
    <dgm:pt modelId="{A60D6A16-F6F3-469C-998A-AD9746314B50}" type="pres">
      <dgm:prSet presAssocID="{97E78FE5-005F-480B-ADDD-02C500177BBA}" presName="Name37" presStyleLbl="parChTrans1D3" presStyleIdx="23" presStyleCnt="27"/>
      <dgm:spPr>
        <a:custGeom>
          <a:avLst/>
          <a:gdLst/>
          <a:ahLst/>
          <a:cxnLst/>
          <a:rect l="0" t="0" r="0" b="0"/>
          <a:pathLst>
            <a:path>
              <a:moveTo>
                <a:pt x="156281" y="0"/>
              </a:moveTo>
              <a:lnTo>
                <a:pt x="0" y="3191672"/>
              </a:lnTo>
            </a:path>
          </a:pathLst>
        </a:custGeom>
      </dgm:spPr>
      <dgm:t>
        <a:bodyPr/>
        <a:lstStyle/>
        <a:p>
          <a:endParaRPr lang="en-GB"/>
        </a:p>
      </dgm:t>
    </dgm:pt>
    <dgm:pt modelId="{4441AEDA-4626-4FDD-AEB8-482A7E8505F0}" type="pres">
      <dgm:prSet presAssocID="{E9A975ED-C728-4E64-B90E-4B505F6C90B9}" presName="hierRoot2" presStyleCnt="0">
        <dgm:presLayoutVars>
          <dgm:hierBranch val="init"/>
        </dgm:presLayoutVars>
      </dgm:prSet>
      <dgm:spPr/>
    </dgm:pt>
    <dgm:pt modelId="{90AF87E6-E15C-48DE-B534-41D432C2A4EB}" type="pres">
      <dgm:prSet presAssocID="{E9A975ED-C728-4E64-B90E-4B505F6C90B9}" presName="rootComposite" presStyleCnt="0"/>
      <dgm:spPr/>
    </dgm:pt>
    <dgm:pt modelId="{B12AF6D6-EC2F-4B2B-992C-8D08E7129CD6}" type="pres">
      <dgm:prSet presAssocID="{E9A975ED-C728-4E64-B90E-4B505F6C90B9}" presName="rootText" presStyleLbl="node3" presStyleIdx="23" presStyleCnt="27" custScaleX="397900" custScaleY="221559" custLinFactY="-2668" custLinFactNeighborX="-76954" custLinFactNeighborY="-100000">
        <dgm:presLayoutVars>
          <dgm:chPref val="3"/>
        </dgm:presLayoutVars>
      </dgm:prSet>
      <dgm:spPr>
        <a:prstGeom prst="rect">
          <a:avLst/>
        </a:prstGeom>
      </dgm:spPr>
      <dgm:t>
        <a:bodyPr/>
        <a:lstStyle/>
        <a:p>
          <a:endParaRPr lang="en-GB"/>
        </a:p>
      </dgm:t>
    </dgm:pt>
    <dgm:pt modelId="{35745B26-F070-41AC-9DB6-D2575B1469B0}" type="pres">
      <dgm:prSet presAssocID="{E9A975ED-C728-4E64-B90E-4B505F6C90B9}" presName="rootConnector" presStyleLbl="node3" presStyleIdx="23" presStyleCnt="27"/>
      <dgm:spPr/>
      <dgm:t>
        <a:bodyPr/>
        <a:lstStyle/>
        <a:p>
          <a:endParaRPr lang="en-GB"/>
        </a:p>
      </dgm:t>
    </dgm:pt>
    <dgm:pt modelId="{C2C426F3-897A-41DF-9FD6-5BE1C57312E0}" type="pres">
      <dgm:prSet presAssocID="{E9A975ED-C728-4E64-B90E-4B505F6C90B9}" presName="hierChild4" presStyleCnt="0"/>
      <dgm:spPr/>
    </dgm:pt>
    <dgm:pt modelId="{0BEBC681-498A-4F39-9A2E-C95C6088EB34}" type="pres">
      <dgm:prSet presAssocID="{E9A975ED-C728-4E64-B90E-4B505F6C90B9}" presName="hierChild5" presStyleCnt="0"/>
      <dgm:spPr/>
    </dgm:pt>
    <dgm:pt modelId="{33F05970-CE5A-4B8F-B2ED-821CE72425D7}" type="pres">
      <dgm:prSet presAssocID="{4C075103-1FAA-4D49-8304-A018805FFDE8}" presName="Name37" presStyleLbl="parChTrans1D3" presStyleIdx="24" presStyleCnt="27"/>
      <dgm:spPr>
        <a:custGeom>
          <a:avLst/>
          <a:gdLst/>
          <a:ahLst/>
          <a:cxnLst/>
          <a:rect l="0" t="0" r="0" b="0"/>
          <a:pathLst>
            <a:path>
              <a:moveTo>
                <a:pt x="165726" y="0"/>
              </a:moveTo>
              <a:lnTo>
                <a:pt x="0" y="3924786"/>
              </a:lnTo>
            </a:path>
          </a:pathLst>
        </a:custGeom>
      </dgm:spPr>
      <dgm:t>
        <a:bodyPr/>
        <a:lstStyle/>
        <a:p>
          <a:endParaRPr lang="en-GB"/>
        </a:p>
      </dgm:t>
    </dgm:pt>
    <dgm:pt modelId="{750B74F5-7E79-432C-B0C5-A04C45276A2A}" type="pres">
      <dgm:prSet presAssocID="{9002187A-E2EC-4717-831E-102A4221D70E}" presName="hierRoot2" presStyleCnt="0">
        <dgm:presLayoutVars>
          <dgm:hierBranch val="init"/>
        </dgm:presLayoutVars>
      </dgm:prSet>
      <dgm:spPr/>
    </dgm:pt>
    <dgm:pt modelId="{5794658F-6AE0-446D-9AB2-1BF0383CDC68}" type="pres">
      <dgm:prSet presAssocID="{9002187A-E2EC-4717-831E-102A4221D70E}" presName="rootComposite" presStyleCnt="0"/>
      <dgm:spPr/>
    </dgm:pt>
    <dgm:pt modelId="{66F06CE1-3BB0-4A85-8D70-A149B82E3BB3}" type="pres">
      <dgm:prSet presAssocID="{9002187A-E2EC-4717-831E-102A4221D70E}" presName="rootText" presStyleLbl="node3" presStyleIdx="24" presStyleCnt="27" custScaleX="397900" custScaleY="166169" custLinFactY="-23057" custLinFactNeighborX="-78342" custLinFactNeighborY="-100000">
        <dgm:presLayoutVars>
          <dgm:chPref val="3"/>
        </dgm:presLayoutVars>
      </dgm:prSet>
      <dgm:spPr>
        <a:prstGeom prst="rect">
          <a:avLst/>
        </a:prstGeom>
      </dgm:spPr>
      <dgm:t>
        <a:bodyPr/>
        <a:lstStyle/>
        <a:p>
          <a:endParaRPr lang="en-GB"/>
        </a:p>
      </dgm:t>
    </dgm:pt>
    <dgm:pt modelId="{AC80687D-CE89-4BFB-A0CD-895A4C091F36}" type="pres">
      <dgm:prSet presAssocID="{9002187A-E2EC-4717-831E-102A4221D70E}" presName="rootConnector" presStyleLbl="node3" presStyleIdx="24" presStyleCnt="27"/>
      <dgm:spPr/>
      <dgm:t>
        <a:bodyPr/>
        <a:lstStyle/>
        <a:p>
          <a:endParaRPr lang="en-GB"/>
        </a:p>
      </dgm:t>
    </dgm:pt>
    <dgm:pt modelId="{C1C6460D-BBC0-4C5A-948B-BA1CAF8F431F}" type="pres">
      <dgm:prSet presAssocID="{9002187A-E2EC-4717-831E-102A4221D70E}" presName="hierChild4" presStyleCnt="0"/>
      <dgm:spPr/>
    </dgm:pt>
    <dgm:pt modelId="{2A7DEF8A-AA33-467C-ACC5-25E463A8AC02}" type="pres">
      <dgm:prSet presAssocID="{9002187A-E2EC-4717-831E-102A4221D70E}" presName="hierChild5" presStyleCnt="0"/>
      <dgm:spPr/>
    </dgm:pt>
    <dgm:pt modelId="{EE5F5FC3-2FC6-4461-ABAA-F66D65415C6E}" type="pres">
      <dgm:prSet presAssocID="{BFBB2B3E-EE3E-4352-9F16-33C8D905B52C}" presName="Name37" presStyleLbl="parChTrans1D3" presStyleIdx="25" presStyleCnt="27"/>
      <dgm:spPr>
        <a:custGeom>
          <a:avLst/>
          <a:gdLst/>
          <a:ahLst/>
          <a:cxnLst/>
          <a:rect l="0" t="0" r="0" b="0"/>
          <a:pathLst>
            <a:path>
              <a:moveTo>
                <a:pt x="177124" y="0"/>
              </a:moveTo>
              <a:lnTo>
                <a:pt x="0" y="4415340"/>
              </a:lnTo>
            </a:path>
          </a:pathLst>
        </a:custGeom>
      </dgm:spPr>
      <dgm:t>
        <a:bodyPr/>
        <a:lstStyle/>
        <a:p>
          <a:endParaRPr lang="en-GB"/>
        </a:p>
      </dgm:t>
    </dgm:pt>
    <dgm:pt modelId="{B8B24061-FF3D-4B2F-9205-9859AA45EE72}" type="pres">
      <dgm:prSet presAssocID="{795D8047-9602-4F28-A46F-427EBC32A9A5}" presName="hierRoot2" presStyleCnt="0">
        <dgm:presLayoutVars>
          <dgm:hierBranch val="init"/>
        </dgm:presLayoutVars>
      </dgm:prSet>
      <dgm:spPr/>
    </dgm:pt>
    <dgm:pt modelId="{429910CB-8F46-4C1D-B088-A8348BDCFA4E}" type="pres">
      <dgm:prSet presAssocID="{795D8047-9602-4F28-A46F-427EBC32A9A5}" presName="rootComposite" presStyleCnt="0"/>
      <dgm:spPr/>
    </dgm:pt>
    <dgm:pt modelId="{FDBEDC48-7610-4008-971F-97F33921F3AB}" type="pres">
      <dgm:prSet presAssocID="{795D8047-9602-4F28-A46F-427EBC32A9A5}" presName="rootText" presStyleLbl="node3" presStyleIdx="25" presStyleCnt="27" custScaleX="397900" custLinFactY="-53959" custLinFactNeighborX="-80017" custLinFactNeighborY="-100000">
        <dgm:presLayoutVars>
          <dgm:chPref val="3"/>
        </dgm:presLayoutVars>
      </dgm:prSet>
      <dgm:spPr>
        <a:prstGeom prst="rect">
          <a:avLst/>
        </a:prstGeom>
      </dgm:spPr>
      <dgm:t>
        <a:bodyPr/>
        <a:lstStyle/>
        <a:p>
          <a:endParaRPr lang="en-GB"/>
        </a:p>
      </dgm:t>
    </dgm:pt>
    <dgm:pt modelId="{8FA4DC7A-1F32-4EBD-B2D2-2B337761960E}" type="pres">
      <dgm:prSet presAssocID="{795D8047-9602-4F28-A46F-427EBC32A9A5}" presName="rootConnector" presStyleLbl="node3" presStyleIdx="25" presStyleCnt="27"/>
      <dgm:spPr/>
      <dgm:t>
        <a:bodyPr/>
        <a:lstStyle/>
        <a:p>
          <a:endParaRPr lang="en-GB"/>
        </a:p>
      </dgm:t>
    </dgm:pt>
    <dgm:pt modelId="{096C45DE-ADFA-4070-A08E-77D21DA69EC9}" type="pres">
      <dgm:prSet presAssocID="{795D8047-9602-4F28-A46F-427EBC32A9A5}" presName="hierChild4" presStyleCnt="0"/>
      <dgm:spPr/>
    </dgm:pt>
    <dgm:pt modelId="{95EC7B72-4125-4746-BA92-652C046DBF7E}" type="pres">
      <dgm:prSet presAssocID="{795D8047-9602-4F28-A46F-427EBC32A9A5}" presName="hierChild5" presStyleCnt="0"/>
      <dgm:spPr/>
    </dgm:pt>
    <dgm:pt modelId="{47EA5480-D883-4F10-85FC-3C1C11868AAB}" type="pres">
      <dgm:prSet presAssocID="{3E8566DB-3FD9-4E15-964E-6C880A5BB489}" presName="Name37" presStyleLbl="parChTrans1D3" presStyleIdx="26" presStyleCnt="27"/>
      <dgm:spPr>
        <a:custGeom>
          <a:avLst/>
          <a:gdLst/>
          <a:ahLst/>
          <a:cxnLst/>
          <a:rect l="0" t="0" r="0" b="0"/>
          <a:pathLst>
            <a:path>
              <a:moveTo>
                <a:pt x="193244" y="0"/>
              </a:moveTo>
              <a:lnTo>
                <a:pt x="0" y="4824200"/>
              </a:lnTo>
            </a:path>
          </a:pathLst>
        </a:custGeom>
      </dgm:spPr>
      <dgm:t>
        <a:bodyPr/>
        <a:lstStyle/>
        <a:p>
          <a:endParaRPr lang="en-GB"/>
        </a:p>
      </dgm:t>
    </dgm:pt>
    <dgm:pt modelId="{BCF512F6-6D36-4271-A50B-AD3B7CF7BA17}" type="pres">
      <dgm:prSet presAssocID="{7CE8175F-BCF0-4B92-A842-728EC78F57D8}" presName="hierRoot2" presStyleCnt="0">
        <dgm:presLayoutVars>
          <dgm:hierBranch val="init"/>
        </dgm:presLayoutVars>
      </dgm:prSet>
      <dgm:spPr/>
    </dgm:pt>
    <dgm:pt modelId="{D2ED8F56-4F8E-4086-8442-C1584854E740}" type="pres">
      <dgm:prSet presAssocID="{7CE8175F-BCF0-4B92-A842-728EC78F57D8}" presName="rootComposite" presStyleCnt="0"/>
      <dgm:spPr/>
    </dgm:pt>
    <dgm:pt modelId="{D80FB876-3642-4FE6-B768-C498CB2DC45B}" type="pres">
      <dgm:prSet presAssocID="{7CE8175F-BCF0-4B92-A842-728EC78F57D8}" presName="rootText" presStyleLbl="node3" presStyleIdx="26" presStyleCnt="27" custScaleX="397900" custLinFactY="-75788" custLinFactNeighborX="-82386" custLinFactNeighborY="-100000">
        <dgm:presLayoutVars>
          <dgm:chPref val="3"/>
        </dgm:presLayoutVars>
      </dgm:prSet>
      <dgm:spPr>
        <a:prstGeom prst="rect">
          <a:avLst/>
        </a:prstGeom>
      </dgm:spPr>
      <dgm:t>
        <a:bodyPr/>
        <a:lstStyle/>
        <a:p>
          <a:endParaRPr lang="en-GB"/>
        </a:p>
      </dgm:t>
    </dgm:pt>
    <dgm:pt modelId="{342F66C1-B350-4FB9-B560-508F7697197D}" type="pres">
      <dgm:prSet presAssocID="{7CE8175F-BCF0-4B92-A842-728EC78F57D8}" presName="rootConnector" presStyleLbl="node3" presStyleIdx="26" presStyleCnt="27"/>
      <dgm:spPr/>
      <dgm:t>
        <a:bodyPr/>
        <a:lstStyle/>
        <a:p>
          <a:endParaRPr lang="en-GB"/>
        </a:p>
      </dgm:t>
    </dgm:pt>
    <dgm:pt modelId="{C4DE29B9-0056-473F-8C63-771358C8FCEC}" type="pres">
      <dgm:prSet presAssocID="{7CE8175F-BCF0-4B92-A842-728EC78F57D8}" presName="hierChild4" presStyleCnt="0"/>
      <dgm:spPr/>
    </dgm:pt>
    <dgm:pt modelId="{0774DFF6-DBE3-4AF0-BB54-65B3ED36A342}" type="pres">
      <dgm:prSet presAssocID="{7CE8175F-BCF0-4B92-A842-728EC78F57D8}" presName="hierChild5" presStyleCnt="0"/>
      <dgm:spPr/>
    </dgm:pt>
    <dgm:pt modelId="{C9882621-E649-49B7-B3B2-676FF7EF65A5}" type="pres">
      <dgm:prSet presAssocID="{17012AFC-D3C1-4556-BCA0-69E7EF7D426B}" presName="hierChild5" presStyleCnt="0"/>
      <dgm:spPr/>
    </dgm:pt>
    <dgm:pt modelId="{ABD12F8A-A439-4063-AA10-A83967468CAB}" type="pres">
      <dgm:prSet presAssocID="{D9A67AE4-4575-43B7-A6F3-0BD58EA221F0}" presName="hierChild3" presStyleCnt="0"/>
      <dgm:spPr/>
    </dgm:pt>
  </dgm:ptLst>
  <dgm:cxnLst>
    <dgm:cxn modelId="{ECDAF48E-7C6F-48E6-B6EB-B0DBF19FB4C5}" type="presOf" srcId="{795D8047-9602-4F28-A46F-427EBC32A9A5}" destId="{FDBEDC48-7610-4008-971F-97F33921F3AB}" srcOrd="0" destOrd="0" presId="urn:microsoft.com/office/officeart/2005/8/layout/orgChart1"/>
    <dgm:cxn modelId="{25837B0F-A128-4F85-9FDD-743328DC3CE4}" type="presOf" srcId="{BB821B91-6134-47D8-8488-D39B8F6FB9F5}" destId="{FC2A0575-63FD-4437-9846-05FE755CCA4D}" srcOrd="0" destOrd="0" presId="urn:microsoft.com/office/officeart/2005/8/layout/orgChart1"/>
    <dgm:cxn modelId="{787859FC-3309-4FD1-9A6B-CBEBF9E53169}" type="presOf" srcId="{8258131A-64F0-468E-89FA-30CD74677209}" destId="{C52F6E7A-06EB-4ED7-9448-A059B6929A94}" srcOrd="0" destOrd="0" presId="urn:microsoft.com/office/officeart/2005/8/layout/orgChart1"/>
    <dgm:cxn modelId="{16374EA6-3AEA-45AD-8463-FA05525ACC1C}" type="presOf" srcId="{7040D635-CE3C-4D39-B00B-23C0DAD01902}" destId="{77C70671-18DE-43E8-BF2F-71650C01E492}" srcOrd="1" destOrd="0" presId="urn:microsoft.com/office/officeart/2005/8/layout/orgChart1"/>
    <dgm:cxn modelId="{0DFC5457-C539-4339-BB3F-CF4545C5A9C3}" srcId="{AEA21CE9-A7A8-4EE0-8D08-C3300B5032C0}" destId="{D9A67AE4-4575-43B7-A6F3-0BD58EA221F0}" srcOrd="0" destOrd="0" parTransId="{39C1069B-DA89-4843-9365-C76A128E71C3}" sibTransId="{396C6420-8006-4594-B3E6-C40C0F01C177}"/>
    <dgm:cxn modelId="{87F18738-F3EE-4F20-8A2F-988E2707B71F}" srcId="{C210B5A7-FC8F-4CFB-888B-78A66105B5E3}" destId="{6FFB1031-0A73-4469-BCC7-5B3640D26945}" srcOrd="6" destOrd="0" parTransId="{53973304-1394-4263-9745-1D093A3A9643}" sibTransId="{2B6001BC-975C-47B4-A3DF-5D8858B4F017}"/>
    <dgm:cxn modelId="{057D46CB-8DE0-4E43-A7E5-A3B23DAE4A05}" type="presOf" srcId="{2F5C0CB3-A347-4DB6-A843-8920EBFA59B6}" destId="{68F9805C-8CAE-4938-9623-6375F921F333}" srcOrd="0" destOrd="0" presId="urn:microsoft.com/office/officeart/2005/8/layout/orgChart1"/>
    <dgm:cxn modelId="{1FA7E189-67F7-4787-9D1A-C5E4B2ED2822}" srcId="{17012AFC-D3C1-4556-BCA0-69E7EF7D426B}" destId="{795D8047-9602-4F28-A46F-427EBC32A9A5}" srcOrd="5" destOrd="0" parTransId="{BFBB2B3E-EE3E-4352-9F16-33C8D905B52C}" sibTransId="{B3E21C83-25C8-42D8-8632-98FE330468CD}"/>
    <dgm:cxn modelId="{B82820CA-B569-4FCD-AF8B-13796FC33CD6}" srcId="{3FA8E52E-41A8-4B79-88F3-ABDEBF17CD17}" destId="{AC209003-8BA6-44DF-A8F6-9D2C5C73FF0B}" srcOrd="5" destOrd="0" parTransId="{E6B68188-F1B4-4DE3-B26E-C5597DBA8B4B}" sibTransId="{AC6B0107-A7F4-48CD-AA7A-25D3230F9343}"/>
    <dgm:cxn modelId="{24D21103-41A3-4E38-B35C-0B54C4882BE0}" type="presOf" srcId="{AEF99AFC-BCE6-483A-9DBF-D4311D315409}" destId="{5566157D-149C-460F-97F5-CE2E5214442B}" srcOrd="0" destOrd="0" presId="urn:microsoft.com/office/officeart/2005/8/layout/orgChart1"/>
    <dgm:cxn modelId="{4CD3A5FD-9FB8-4C69-B3C8-AE816F2DAE36}" type="presOf" srcId="{E59C7045-2EF3-4659-8457-FC2DC2C82928}" destId="{E846EEA4-3606-4E73-993D-7A44D043C02F}" srcOrd="1" destOrd="0" presId="urn:microsoft.com/office/officeart/2005/8/layout/orgChart1"/>
    <dgm:cxn modelId="{F621A0E7-8763-49FB-B3BB-BEBE46762B00}" type="presOf" srcId="{E9A975ED-C728-4E64-B90E-4B505F6C90B9}" destId="{35745B26-F070-41AC-9DB6-D2575B1469B0}" srcOrd="1" destOrd="0" presId="urn:microsoft.com/office/officeart/2005/8/layout/orgChart1"/>
    <dgm:cxn modelId="{404C50E8-8D9F-4CC1-A596-0D17807FFCAD}" type="presOf" srcId="{23C38686-FC84-49F1-B747-F325F35C7D06}" destId="{24EA762B-4AE4-49BB-ACA9-F208C93443F3}" srcOrd="0" destOrd="0" presId="urn:microsoft.com/office/officeart/2005/8/layout/orgChart1"/>
    <dgm:cxn modelId="{1EF06814-DA59-42DA-B557-5A6514DD2715}" type="presOf" srcId="{4A2B5A49-02C5-4CAF-B182-FD73BC39F0B6}" destId="{439D2B84-4BEE-4138-999D-519850687B31}" srcOrd="1" destOrd="0" presId="urn:microsoft.com/office/officeart/2005/8/layout/orgChart1"/>
    <dgm:cxn modelId="{5FA0350D-1D2F-49DC-8DE8-C401C83344B7}" type="presOf" srcId="{07A97D4C-A6EA-472B-B9F4-9A14FB6975E8}" destId="{84973679-6F82-4ED4-A935-CA4A0FD0F148}" srcOrd="0" destOrd="0" presId="urn:microsoft.com/office/officeart/2005/8/layout/orgChart1"/>
    <dgm:cxn modelId="{9B7730D2-8BD2-4D64-B8A7-92539B7297CA}" type="presOf" srcId="{9002187A-E2EC-4717-831E-102A4221D70E}" destId="{AC80687D-CE89-4BFB-A0CD-895A4C091F36}" srcOrd="1" destOrd="0" presId="urn:microsoft.com/office/officeart/2005/8/layout/orgChart1"/>
    <dgm:cxn modelId="{F3C32E4C-5A51-4406-BA74-1A2339D8031A}" srcId="{C210B5A7-FC8F-4CFB-888B-78A66105B5E3}" destId="{AD9B6B29-76D5-426B-93B6-5BFE62AB229B}" srcOrd="5" destOrd="0" parTransId="{84939823-9C1A-4A52-8238-B36504B8A531}" sibTransId="{15659702-21A2-4FE5-A2E5-6D94C072E3B4}"/>
    <dgm:cxn modelId="{9FD3A0C6-3F2C-4EFB-A7A2-C06FD518589B}" type="presOf" srcId="{8258131A-64F0-468E-89FA-30CD74677209}" destId="{A0C33D3F-A411-47FC-90AA-856B0B304567}" srcOrd="1" destOrd="0" presId="urn:microsoft.com/office/officeart/2005/8/layout/orgChart1"/>
    <dgm:cxn modelId="{0BEDE6F6-C256-4AA7-B3ED-0BA38258DD54}" type="presOf" srcId="{862E5178-4EA9-49DF-9E29-89AA5E3C5029}" destId="{23EDB892-9EB4-4D68-BBE5-B200E79A66A9}" srcOrd="0" destOrd="0" presId="urn:microsoft.com/office/officeart/2005/8/layout/orgChart1"/>
    <dgm:cxn modelId="{EE0D2D01-C761-4727-9997-34D64DB013E0}" type="presOf" srcId="{0501E4C1-E7FE-472A-A140-201BB0837341}" destId="{CA3AC0F8-D2DD-45A4-986D-8A7CA3FCA483}" srcOrd="0" destOrd="0" presId="urn:microsoft.com/office/officeart/2005/8/layout/orgChart1"/>
    <dgm:cxn modelId="{9D6978FB-1AD0-4D35-9334-2673B0984CF5}" type="presOf" srcId="{32925A20-E0E2-491B-BCB4-1CACA4A7DB4F}" destId="{9185C20B-3F53-4B76-A66A-573CD6C3DBE0}" srcOrd="0" destOrd="0" presId="urn:microsoft.com/office/officeart/2005/8/layout/orgChart1"/>
    <dgm:cxn modelId="{C83D9B6E-44E8-40A9-BEF9-CE491E356017}" type="presOf" srcId="{2E1B0A68-5385-427D-BCDA-B3B9911E240A}" destId="{3B1825C6-1AEF-462F-A1CD-79B8796D71BF}" srcOrd="0" destOrd="0" presId="urn:microsoft.com/office/officeart/2005/8/layout/orgChart1"/>
    <dgm:cxn modelId="{50B9BF52-DC7F-4486-A63D-688D43797D59}" srcId="{17012AFC-D3C1-4556-BCA0-69E7EF7D426B}" destId="{7040D635-CE3C-4D39-B00B-23C0DAD01902}" srcOrd="2" destOrd="0" parTransId="{36E96AA5-58BD-4463-8AC7-C7605675329D}" sibTransId="{4DB320F3-DA54-426D-95BE-7952EFF35D61}"/>
    <dgm:cxn modelId="{4CD22855-5FF6-43ED-BB6D-7724E2B365F4}" type="presOf" srcId="{D6F17EA9-E082-43E6-9D65-85C43DB9E61E}" destId="{0415C0B4-BF22-4E0A-9719-027F6097DCDD}" srcOrd="1" destOrd="0" presId="urn:microsoft.com/office/officeart/2005/8/layout/orgChart1"/>
    <dgm:cxn modelId="{BC30754E-5D83-4AA7-ACAF-60D85AB2A403}" type="presOf" srcId="{E6B68188-F1B4-4DE3-B26E-C5597DBA8B4B}" destId="{EB7A51C9-2A3B-4023-940F-7A577F808009}" srcOrd="0" destOrd="0" presId="urn:microsoft.com/office/officeart/2005/8/layout/orgChart1"/>
    <dgm:cxn modelId="{3CD4BB3D-A7A3-4D1C-9958-946138D1D76F}" type="presOf" srcId="{4D12AA29-479B-49C6-9FF2-D77C0C9C8CC6}" destId="{DF2A5BDB-731B-4743-8645-30CC461A515D}" srcOrd="0" destOrd="0" presId="urn:microsoft.com/office/officeart/2005/8/layout/orgChart1"/>
    <dgm:cxn modelId="{2CA59D98-A57E-40DB-862D-332DD9FE11FB}" srcId="{17012AFC-D3C1-4556-BCA0-69E7EF7D426B}" destId="{E9A975ED-C728-4E64-B90E-4B505F6C90B9}" srcOrd="3" destOrd="0" parTransId="{97E78FE5-005F-480B-ADDD-02C500177BBA}" sibTransId="{BD353001-6067-4889-B0B0-5C7A4C228A3C}"/>
    <dgm:cxn modelId="{F11813CF-588F-40C2-A259-8BE99FFA07FD}" type="presOf" srcId="{8B3B7F3F-9569-4813-B483-35B81A80F496}" destId="{78EE5F20-2D72-4F04-BE3F-8283CA4EB390}" srcOrd="0" destOrd="0" presId="urn:microsoft.com/office/officeart/2005/8/layout/orgChart1"/>
    <dgm:cxn modelId="{83D42979-5B28-4E90-95F2-AD95326410BC}" type="presOf" srcId="{772FF846-B977-4229-8998-FD334892F6D6}" destId="{FCD4C20C-521F-4545-939A-8A7799913E93}" srcOrd="0" destOrd="0" presId="urn:microsoft.com/office/officeart/2005/8/layout/orgChart1"/>
    <dgm:cxn modelId="{08BF7DC3-15BE-404E-9EFB-7C50D9C07D2F}" srcId="{C210B5A7-FC8F-4CFB-888B-78A66105B5E3}" destId="{772FF846-B977-4229-8998-FD334892F6D6}" srcOrd="7" destOrd="0" parTransId="{64F965F4-0063-4154-85F6-3E001459EE1E}" sibTransId="{CAC25007-4073-4055-B964-CEFD35EB0825}"/>
    <dgm:cxn modelId="{D5E19F48-6CCB-4FC9-A835-F2DB5F0D1543}" type="presOf" srcId="{795D8047-9602-4F28-A46F-427EBC32A9A5}" destId="{8FA4DC7A-1F32-4EBD-B2D2-2B337761960E}" srcOrd="1" destOrd="0" presId="urn:microsoft.com/office/officeart/2005/8/layout/orgChart1"/>
    <dgm:cxn modelId="{66D1CB44-4610-42F1-91AA-35A3C15028CB}" srcId="{D9A67AE4-4575-43B7-A6F3-0BD58EA221F0}" destId="{17012AFC-D3C1-4556-BCA0-69E7EF7D426B}" srcOrd="3" destOrd="0" parTransId="{D3AB7F58-C8BD-4F52-BA48-1335ECA51BF3}" sibTransId="{2891E821-653F-4013-91DF-F4C272A737E3}"/>
    <dgm:cxn modelId="{DC7845E1-311E-4CBA-B313-CFDB919216EE}" type="presOf" srcId="{17012AFC-D3C1-4556-BCA0-69E7EF7D426B}" destId="{8A30A787-B8DD-468A-B6C4-47C9516B39E9}" srcOrd="1" destOrd="0" presId="urn:microsoft.com/office/officeart/2005/8/layout/orgChart1"/>
    <dgm:cxn modelId="{DA3BE9A1-9BBC-4651-BE02-292DC4F85BDD}" type="presOf" srcId="{7CE8175F-BCF0-4B92-A842-728EC78F57D8}" destId="{D80FB876-3642-4FE6-B768-C498CB2DC45B}" srcOrd="0" destOrd="0" presId="urn:microsoft.com/office/officeart/2005/8/layout/orgChart1"/>
    <dgm:cxn modelId="{D620C2D2-A93A-4291-AB41-C4C4272825DC}" srcId="{C210B5A7-FC8F-4CFB-888B-78A66105B5E3}" destId="{D6F17EA9-E082-43E6-9D65-85C43DB9E61E}" srcOrd="3" destOrd="0" parTransId="{9E6D193C-AE2E-4C60-B40E-8A836963A6ED}" sibTransId="{C6072D5B-B209-4632-BF6C-A85AFBA9582B}"/>
    <dgm:cxn modelId="{63C6B4B3-902E-4DDA-8A6B-F8A4E2470DB7}" type="presOf" srcId="{4F00BF85-AC72-481D-BE7B-D4C9F900999E}" destId="{74A4E3A4-EC91-46B0-B939-76D9B05E6BDA}" srcOrd="1" destOrd="0" presId="urn:microsoft.com/office/officeart/2005/8/layout/orgChart1"/>
    <dgm:cxn modelId="{21EF8049-AE90-4836-91E3-7E1AF44735CC}" type="presOf" srcId="{E9A975ED-C728-4E64-B90E-4B505F6C90B9}" destId="{B12AF6D6-EC2F-4B2B-992C-8D08E7129CD6}" srcOrd="0" destOrd="0" presId="urn:microsoft.com/office/officeart/2005/8/layout/orgChart1"/>
    <dgm:cxn modelId="{FDFD4426-E5F7-4CDC-9D21-52B0877CAB8E}" type="presOf" srcId="{6FB800BF-C0D2-4431-90AD-DB6C6F916073}" destId="{748B4E46-BCEA-4B90-9F45-8240389CE2F0}" srcOrd="0" destOrd="0" presId="urn:microsoft.com/office/officeart/2005/8/layout/orgChart1"/>
    <dgm:cxn modelId="{34619154-2874-42E1-B530-942BF7DE9588}" srcId="{D9A67AE4-4575-43B7-A6F3-0BD58EA221F0}" destId="{3FA8E52E-41A8-4B79-88F3-ABDEBF17CD17}" srcOrd="0" destOrd="0" parTransId="{3DAC40A4-5971-441F-9133-8187AFA97BC7}" sibTransId="{C6B1D5F1-D291-4575-A8D3-D12B8411F8B8}"/>
    <dgm:cxn modelId="{1AFFACD4-B6DA-4E69-922B-BB762C9873B4}" type="presOf" srcId="{DB7FB121-89FA-4FDA-BA06-6EB92D692684}" destId="{FA874DA8-4D76-40E4-B03F-68097D2BD076}" srcOrd="0" destOrd="0" presId="urn:microsoft.com/office/officeart/2005/8/layout/orgChart1"/>
    <dgm:cxn modelId="{E46FB67B-3AB9-4F38-A58B-CA7301903DEE}" type="presOf" srcId="{17012AFC-D3C1-4556-BCA0-69E7EF7D426B}" destId="{2034BB97-76EC-478B-8B14-7267569BC1AA}" srcOrd="0" destOrd="0" presId="urn:microsoft.com/office/officeart/2005/8/layout/orgChart1"/>
    <dgm:cxn modelId="{3BA6B1A4-DD46-4EC4-89EB-696660C6E425}" srcId="{17012AFC-D3C1-4556-BCA0-69E7EF7D426B}" destId="{9002187A-E2EC-4717-831E-102A4221D70E}" srcOrd="4" destOrd="0" parTransId="{4C075103-1FAA-4D49-8304-A018805FFDE8}" sibTransId="{1E658E4A-AB82-4D65-AA86-17D4B91A0032}"/>
    <dgm:cxn modelId="{870440BF-0B6E-4021-AC0D-77B9CD6098A1}" type="presOf" srcId="{32925A20-E0E2-491B-BCB4-1CACA4A7DB4F}" destId="{F7DFF23A-F7C5-477C-B4A9-B17D28FAD8AD}" srcOrd="1" destOrd="0" presId="urn:microsoft.com/office/officeart/2005/8/layout/orgChart1"/>
    <dgm:cxn modelId="{C1E2AD0C-4538-468C-AE8A-09106E414ECE}" type="presOf" srcId="{7520F216-6A93-4900-B03B-1CAE7FDB300B}" destId="{04410A4D-7DCC-4946-8471-DFD4EE5F71CD}" srcOrd="0" destOrd="0" presId="urn:microsoft.com/office/officeart/2005/8/layout/orgChart1"/>
    <dgm:cxn modelId="{C721B64A-738E-422E-88B5-A38530868A4A}" type="presOf" srcId="{E506AFA8-1B82-43BC-98C8-F80DC54DD35B}" destId="{CC4D928E-8FD4-48D7-883D-76404CA06E7E}" srcOrd="1" destOrd="0" presId="urn:microsoft.com/office/officeart/2005/8/layout/orgChart1"/>
    <dgm:cxn modelId="{F0A689D7-CC2A-439D-A81A-82934BFA5597}" type="presOf" srcId="{53973304-1394-4263-9745-1D093A3A9643}" destId="{EDD6B248-4CEB-4654-9033-ED2BD107A221}" srcOrd="0" destOrd="0" presId="urn:microsoft.com/office/officeart/2005/8/layout/orgChart1"/>
    <dgm:cxn modelId="{FFE56686-CF77-4990-8FC8-B17B0A6C1C82}" srcId="{4A2B5A49-02C5-4CAF-B182-FD73BC39F0B6}" destId="{2D341EAF-8E02-4FFB-8BC7-8E749BCA3386}" srcOrd="0" destOrd="0" parTransId="{0501E4C1-E7FE-472A-A140-201BB0837341}" sibTransId="{A8B58A40-33F2-49FA-A4B6-8B1E6A3D8248}"/>
    <dgm:cxn modelId="{5D354F7F-878D-4585-BE8F-568225322DB5}" type="presOf" srcId="{AD9B6B29-76D5-426B-93B6-5BFE62AB229B}" destId="{BAABFAAE-EC69-4E1F-B78D-D84BCDA0D6AD}" srcOrd="1" destOrd="0" presId="urn:microsoft.com/office/officeart/2005/8/layout/orgChart1"/>
    <dgm:cxn modelId="{8ED7B6CE-DEF1-44D2-8F35-553198B4E506}" type="presOf" srcId="{D9A67AE4-4575-43B7-A6F3-0BD58EA221F0}" destId="{4647B7EA-AC87-4476-9537-D181D7693287}" srcOrd="0" destOrd="0" presId="urn:microsoft.com/office/officeart/2005/8/layout/orgChart1"/>
    <dgm:cxn modelId="{C6231129-9691-4342-994E-B4E255CC78E6}" type="presOf" srcId="{4A2B5A49-02C5-4CAF-B182-FD73BC39F0B6}" destId="{A1A7E265-6B33-4908-BF5C-D6CD576CE0F9}" srcOrd="0" destOrd="0" presId="urn:microsoft.com/office/officeart/2005/8/layout/orgChart1"/>
    <dgm:cxn modelId="{9820CA1E-1691-47FA-A880-ED1D5CB29D1B}" srcId="{4A2B5A49-02C5-4CAF-B182-FD73BC39F0B6}" destId="{AEF99AFC-BCE6-483A-9DBF-D4311D315409}" srcOrd="1" destOrd="0" parTransId="{23C38686-FC84-49F1-B747-F325F35C7D06}" sibTransId="{944BA3E3-A7DB-42E6-BE3A-27FE8324A05A}"/>
    <dgm:cxn modelId="{7A48B5C6-A8AB-4B64-9F23-76162F263C51}" type="presOf" srcId="{2758B6C3-6786-4A0A-94BA-3C0B87000D62}" destId="{E350FF0A-3899-4666-BFBB-4391AE4ED83D}" srcOrd="1" destOrd="0" presId="urn:microsoft.com/office/officeart/2005/8/layout/orgChart1"/>
    <dgm:cxn modelId="{2F0954F4-E871-450E-8297-93EAB6BD1B54}" type="presOf" srcId="{AEA21CE9-A7A8-4EE0-8D08-C3300B5032C0}" destId="{C80C8456-3BBA-45FD-AD23-3C06B4C3CF8C}" srcOrd="0" destOrd="0" presId="urn:microsoft.com/office/officeart/2005/8/layout/orgChart1"/>
    <dgm:cxn modelId="{71C013E1-E549-4599-B2E8-70B0E911954E}" type="presOf" srcId="{AC209003-8BA6-44DF-A8F6-9D2C5C73FF0B}" destId="{4C1F4693-C8EA-4D49-A3D3-8D6D9A6A79CE}" srcOrd="0" destOrd="0" presId="urn:microsoft.com/office/officeart/2005/8/layout/orgChart1"/>
    <dgm:cxn modelId="{0948AA94-0B37-4066-9EE2-32AD32A4307B}" type="presOf" srcId="{2F5C0CB3-A347-4DB6-A843-8920EBFA59B6}" destId="{EED161AF-40AD-43B2-8B46-38DF36ECA8B3}" srcOrd="1" destOrd="0" presId="urn:microsoft.com/office/officeart/2005/8/layout/orgChart1"/>
    <dgm:cxn modelId="{2653242A-8BF2-4DAD-8F91-214FC0B3702A}" type="presOf" srcId="{C210B5A7-FC8F-4CFB-888B-78A66105B5E3}" destId="{C633A689-B769-440B-A61E-472B58BC51D4}" srcOrd="0" destOrd="0" presId="urn:microsoft.com/office/officeart/2005/8/layout/orgChart1"/>
    <dgm:cxn modelId="{4D0D2DBF-09D6-4DEC-9CC7-E883F97C5197}" srcId="{3FA8E52E-41A8-4B79-88F3-ABDEBF17CD17}" destId="{2F5C0CB3-A347-4DB6-A843-8920EBFA59B6}" srcOrd="2" destOrd="0" parTransId="{6FA0B268-20E6-499D-A943-270BC5C30AC9}" sibTransId="{677BD7D6-19D5-4D7B-8449-37BF39C7EDD8}"/>
    <dgm:cxn modelId="{3428C6EA-D9BD-4B2D-9F4C-C73985D2AF99}" type="presOf" srcId="{7040D635-CE3C-4D39-B00B-23C0DAD01902}" destId="{C2E3C8C2-963F-46A6-A733-D84654932C5D}" srcOrd="0" destOrd="0" presId="urn:microsoft.com/office/officeart/2005/8/layout/orgChart1"/>
    <dgm:cxn modelId="{0D1A052A-E2D8-46DB-A735-BA96F0DFB10B}" type="presOf" srcId="{5E41AA33-18C8-4417-B53F-484A14595051}" destId="{0964CB70-41C0-4F29-B83E-AE1B76280125}" srcOrd="0" destOrd="0" presId="urn:microsoft.com/office/officeart/2005/8/layout/orgChart1"/>
    <dgm:cxn modelId="{5EA865E6-16F1-461B-B0F6-816D0E90C8B9}" type="presOf" srcId="{6FFB1031-0A73-4469-BCC7-5B3640D26945}" destId="{830D38BF-6282-47C5-BAC0-DF00893C467F}" srcOrd="0" destOrd="0" presId="urn:microsoft.com/office/officeart/2005/8/layout/orgChart1"/>
    <dgm:cxn modelId="{5955092D-3D5D-4A47-A9F2-15D5112DA505}" srcId="{3FA8E52E-41A8-4B79-88F3-ABDEBF17CD17}" destId="{7741473B-E186-4580-BC20-E482C22F84BC}" srcOrd="4" destOrd="0" parTransId="{AD30EE2C-612E-4D7A-9A9D-63748E547A4E}" sibTransId="{6C4AD7F0-8C67-48D0-A127-C28309A053BC}"/>
    <dgm:cxn modelId="{A63EEB7A-B50A-41C4-ACEF-B5880A19664F}" type="presOf" srcId="{07A97D4C-A6EA-472B-B9F4-9A14FB6975E8}" destId="{40F4D01A-1074-4751-950A-F4647C147244}" srcOrd="1" destOrd="0" presId="urn:microsoft.com/office/officeart/2005/8/layout/orgChart1"/>
    <dgm:cxn modelId="{012605B1-9B0D-4314-8AF1-F5818CC603D1}" type="presOf" srcId="{BFBB2B3E-EE3E-4352-9F16-33C8D905B52C}" destId="{EE5F5FC3-2FC6-4461-ABAA-F66D65415C6E}" srcOrd="0" destOrd="0" presId="urn:microsoft.com/office/officeart/2005/8/layout/orgChart1"/>
    <dgm:cxn modelId="{5F04637D-450B-40FC-B02A-56A10C689A39}" type="presOf" srcId="{9EBBB895-7600-4C5C-AD2A-85DBB7813F37}" destId="{14794923-454C-4188-8CA2-A3764EA77813}" srcOrd="1" destOrd="0" presId="urn:microsoft.com/office/officeart/2005/8/layout/orgChart1"/>
    <dgm:cxn modelId="{8C8788B6-A1D0-404E-8344-77D8C244AD67}" type="presOf" srcId="{36E96AA5-58BD-4463-8AC7-C7605675329D}" destId="{4C665A08-AC56-45D8-8D87-B1C7BBA58F7E}" srcOrd="0" destOrd="0" presId="urn:microsoft.com/office/officeart/2005/8/layout/orgChart1"/>
    <dgm:cxn modelId="{AAC04595-C28C-4E25-AA61-4CBA41F956A6}" type="presOf" srcId="{2D341EAF-8E02-4FFB-8BC7-8E749BCA3386}" destId="{889AFA51-C7BD-4939-911F-CB1271EB2AF8}" srcOrd="0" destOrd="0" presId="urn:microsoft.com/office/officeart/2005/8/layout/orgChart1"/>
    <dgm:cxn modelId="{CB1EFD85-6250-4220-A818-93F4F3BEFA02}" type="presOf" srcId="{3FA8E52E-41A8-4B79-88F3-ABDEBF17CD17}" destId="{9A3B73B8-A734-4DA9-B323-C843A6C97FD7}" srcOrd="1" destOrd="0" presId="urn:microsoft.com/office/officeart/2005/8/layout/orgChart1"/>
    <dgm:cxn modelId="{BC7CE12C-135C-4C51-9BCC-3EDB73A8D7F5}" type="presOf" srcId="{9C577F41-001A-42AE-AABF-54268D15A364}" destId="{E69AAF95-112D-4CA3-8B25-A2C1AA2BFB20}" srcOrd="0" destOrd="0" presId="urn:microsoft.com/office/officeart/2005/8/layout/orgChart1"/>
    <dgm:cxn modelId="{BE790F21-7625-425D-9EB8-7F8CE1148F73}" type="presOf" srcId="{7741473B-E186-4580-BC20-E482C22F84BC}" destId="{3D806196-A09E-42B6-89DA-5DE151B649CC}" srcOrd="0" destOrd="0" presId="urn:microsoft.com/office/officeart/2005/8/layout/orgChart1"/>
    <dgm:cxn modelId="{EC2B5C3C-6907-4636-9B7D-EA4C9E4668F1}" type="presOf" srcId="{64F965F4-0063-4154-85F6-3E001459EE1E}" destId="{5FAD3576-45D6-41B4-8CB0-E188125E4354}" srcOrd="0" destOrd="0" presId="urn:microsoft.com/office/officeart/2005/8/layout/orgChart1"/>
    <dgm:cxn modelId="{3434F0F3-FCA0-4985-AEC9-C1CDF45193CB}" type="presOf" srcId="{AEF99AFC-BCE6-483A-9DBF-D4311D315409}" destId="{1278BCC9-713A-42EA-B5C7-590514CE77EA}" srcOrd="1" destOrd="0" presId="urn:microsoft.com/office/officeart/2005/8/layout/orgChart1"/>
    <dgm:cxn modelId="{323A174D-A943-481C-AA12-3A02F0E37880}" srcId="{C210B5A7-FC8F-4CFB-888B-78A66105B5E3}" destId="{A67701C2-2154-49A9-AEE7-642B0F6E0EDA}" srcOrd="4" destOrd="0" parTransId="{68FB7B31-DBFA-4E20-A5A9-242EBD808708}" sibTransId="{DE5C4C84-FC53-429E-B431-54377B1406F5}"/>
    <dgm:cxn modelId="{7311424E-BCEA-4487-99F1-405A9A84E354}" type="presOf" srcId="{D3AB7F58-C8BD-4F52-BA48-1335ECA51BF3}" destId="{52E9BC89-FDF8-438D-A60C-DC48E0884547}" srcOrd="0" destOrd="0" presId="urn:microsoft.com/office/officeart/2005/8/layout/orgChart1"/>
    <dgm:cxn modelId="{DAB48B49-C9C6-42A9-8013-B0926127BFF4}" type="presOf" srcId="{68FB7B31-DBFA-4E20-A5A9-242EBD808708}" destId="{6B9BB72C-C16E-4812-A426-8736B0F4D50D}" srcOrd="0" destOrd="0" presId="urn:microsoft.com/office/officeart/2005/8/layout/orgChart1"/>
    <dgm:cxn modelId="{87EB98B3-B1A7-4FDF-92EF-7B462B44A0A7}" type="presOf" srcId="{128CD2A8-559B-42A1-B1A9-0396AC1A0AFE}" destId="{C18432C2-F5A3-442A-9977-38AEE04F13DD}" srcOrd="0" destOrd="0" presId="urn:microsoft.com/office/officeart/2005/8/layout/orgChart1"/>
    <dgm:cxn modelId="{B7A087BC-5F0F-434A-8BF7-E6F9BB70372D}" type="presOf" srcId="{2758B6C3-6786-4A0A-94BA-3C0B87000D62}" destId="{3AC870FB-C26A-455D-A787-26FB8A768500}" srcOrd="0" destOrd="0" presId="urn:microsoft.com/office/officeart/2005/8/layout/orgChart1"/>
    <dgm:cxn modelId="{71B5FCBD-E613-487A-B032-34E368E3B122}" type="presOf" srcId="{E506AFA8-1B82-43BC-98C8-F80DC54DD35B}" destId="{AD2E7CCF-8632-48BA-AB5F-38D672160CB7}" srcOrd="0" destOrd="0" presId="urn:microsoft.com/office/officeart/2005/8/layout/orgChart1"/>
    <dgm:cxn modelId="{89AFF3A3-113D-4CBB-86B8-37BC4CE59737}" type="presOf" srcId="{AC209003-8BA6-44DF-A8F6-9D2C5C73FF0B}" destId="{6FCF4D04-EFDA-413E-8BA0-F4AD778E5115}" srcOrd="1" destOrd="0" presId="urn:microsoft.com/office/officeart/2005/8/layout/orgChart1"/>
    <dgm:cxn modelId="{826FB191-4902-4C4A-A1BA-ACDBC45B0167}" type="presOf" srcId="{FD01D34D-5E0D-46CB-A169-082DA7DAD974}" destId="{DE8D8668-96E8-4FBC-8F48-E04927E8AF75}" srcOrd="0" destOrd="0" presId="urn:microsoft.com/office/officeart/2005/8/layout/orgChart1"/>
    <dgm:cxn modelId="{9485EB7C-8FCF-4596-9C32-BCE84EC343AE}" type="presOf" srcId="{9002187A-E2EC-4717-831E-102A4221D70E}" destId="{66F06CE1-3BB0-4A85-8D70-A149B82E3BB3}" srcOrd="0" destOrd="0" presId="urn:microsoft.com/office/officeart/2005/8/layout/orgChart1"/>
    <dgm:cxn modelId="{BBA86DD5-1742-4C9F-84A2-5D74CDCEEAB2}" srcId="{C210B5A7-FC8F-4CFB-888B-78A66105B5E3}" destId="{9EBBB895-7600-4C5C-AD2A-85DBB7813F37}" srcOrd="9" destOrd="0" parTransId="{862E5178-4EA9-49DF-9E29-89AA5E3C5029}" sibTransId="{BF217296-EF35-4EE0-873D-C5A079B5430C}"/>
    <dgm:cxn modelId="{EEFD6EBC-A866-4CB8-9A25-C10270580F05}" type="presOf" srcId="{C210B5A7-FC8F-4CFB-888B-78A66105B5E3}" destId="{BBF4301C-272D-4A88-904A-92188D17DA3C}" srcOrd="1" destOrd="0" presId="urn:microsoft.com/office/officeart/2005/8/layout/orgChart1"/>
    <dgm:cxn modelId="{A29F0E88-E01E-4B1B-918C-B30C3DA14892}" type="presOf" srcId="{3DAC40A4-5971-441F-9133-8187AFA97BC7}" destId="{D8734DF8-E79C-44E6-9764-7B2B826E2D1C}" srcOrd="0" destOrd="0" presId="urn:microsoft.com/office/officeart/2005/8/layout/orgChart1"/>
    <dgm:cxn modelId="{74E736B8-9CEE-4176-B17F-1377B75031CE}" type="presOf" srcId="{84939823-9C1A-4A52-8238-B36504B8A531}" destId="{36BF8A7A-9D89-41C0-8B99-0645BE0B5C9B}" srcOrd="0" destOrd="0" presId="urn:microsoft.com/office/officeart/2005/8/layout/orgChart1"/>
    <dgm:cxn modelId="{108295CD-96D6-4161-82F6-F17A5E31D904}" type="presOf" srcId="{DE6CB324-04C8-4039-A4A1-2D784450FD41}" destId="{B831C22F-984D-4917-BB77-DA19C75E8EEC}" srcOrd="0" destOrd="0" presId="urn:microsoft.com/office/officeart/2005/8/layout/orgChart1"/>
    <dgm:cxn modelId="{42938537-D835-44C7-B06A-601CA691FEEA}" type="presOf" srcId="{B0DC9A8E-7A12-4BF0-8A96-882866292D90}" destId="{59553AB9-15C6-41A5-86D0-0A8B70218E8B}" srcOrd="0" destOrd="0" presId="urn:microsoft.com/office/officeart/2005/8/layout/orgChart1"/>
    <dgm:cxn modelId="{5E05D01C-86C1-4D78-9891-28D3BB9C2A58}" srcId="{C210B5A7-FC8F-4CFB-888B-78A66105B5E3}" destId="{DB7FB121-89FA-4FDA-BA06-6EB92D692684}" srcOrd="1" destOrd="0" parTransId="{FD01D34D-5E0D-46CB-A169-082DA7DAD974}" sibTransId="{DD9AF56D-050C-4FCF-866D-9181CC568B13}"/>
    <dgm:cxn modelId="{0748C1A1-A3CA-498E-BFE8-5847186D8D65}" type="presOf" srcId="{3E8566DB-3FD9-4E15-964E-6C880A5BB489}" destId="{47EA5480-D883-4F10-85FC-3C1C11868AAB}" srcOrd="0" destOrd="0" presId="urn:microsoft.com/office/officeart/2005/8/layout/orgChart1"/>
    <dgm:cxn modelId="{11C07E74-69A2-4837-AA48-784A8E44297A}" type="presOf" srcId="{4C075103-1FAA-4D49-8304-A018805FFDE8}" destId="{33F05970-CE5A-4B8F-B2ED-821CE72425D7}" srcOrd="0" destOrd="0" presId="urn:microsoft.com/office/officeart/2005/8/layout/orgChart1"/>
    <dgm:cxn modelId="{25A0B461-31B2-4463-A1C3-D84E02E71E77}" type="presOf" srcId="{AD9B6B29-76D5-426B-93B6-5BFE62AB229B}" destId="{69577400-3728-444D-96E5-E59C84094316}" srcOrd="0" destOrd="0" presId="urn:microsoft.com/office/officeart/2005/8/layout/orgChart1"/>
    <dgm:cxn modelId="{7C94419F-B61D-4F96-AF88-FA698854C02E}" type="presOf" srcId="{6FFB1031-0A73-4469-BCC7-5B3640D26945}" destId="{50DD9E39-4F50-40C5-BD65-39D9CA175641}" srcOrd="1" destOrd="0" presId="urn:microsoft.com/office/officeart/2005/8/layout/orgChart1"/>
    <dgm:cxn modelId="{A8A8E3B0-E245-4018-B7AD-0E9F4A72FF24}" type="presOf" srcId="{9E6D193C-AE2E-4C60-B40E-8A836963A6ED}" destId="{B743BF5E-8E74-4AA4-AF77-FEB591727596}" srcOrd="0" destOrd="0" presId="urn:microsoft.com/office/officeart/2005/8/layout/orgChart1"/>
    <dgm:cxn modelId="{1F12910A-7C1C-47FB-A770-CE711FA70359}" type="presOf" srcId="{EF5E585F-3673-4CC4-9E22-D48DF4FE27E6}" destId="{1E6F7728-0201-4A15-AC95-CC7E377B1A72}" srcOrd="0" destOrd="0" presId="urn:microsoft.com/office/officeart/2005/8/layout/orgChart1"/>
    <dgm:cxn modelId="{3717ABC8-912F-410A-807A-39807094A985}" type="presOf" srcId="{D6F17EA9-E082-43E6-9D65-85C43DB9E61E}" destId="{0E40AEC0-2671-423A-8A47-DC6E1E2C8277}" srcOrd="0" destOrd="0" presId="urn:microsoft.com/office/officeart/2005/8/layout/orgChart1"/>
    <dgm:cxn modelId="{79A583A9-4B9D-40F5-B33B-A5C56B882FDB}" type="presOf" srcId="{9EBBB895-7600-4C5C-AD2A-85DBB7813F37}" destId="{61FA1666-3CB0-4FB2-8C4B-E313F9D14383}" srcOrd="0" destOrd="0" presId="urn:microsoft.com/office/officeart/2005/8/layout/orgChart1"/>
    <dgm:cxn modelId="{E50C977B-F278-49D0-A28C-4C1DAF9C91C0}" type="presOf" srcId="{D9A67AE4-4575-43B7-A6F3-0BD58EA221F0}" destId="{11C8C23B-B493-47C5-9205-B34A41C8E805}" srcOrd="1" destOrd="0" presId="urn:microsoft.com/office/officeart/2005/8/layout/orgChart1"/>
    <dgm:cxn modelId="{1FE030B3-AA3B-4A2D-95EF-E70A7BDBBD05}" type="presOf" srcId="{7741473B-E186-4580-BC20-E482C22F84BC}" destId="{267C9922-0B84-4AEE-9817-7077676D94D7}" srcOrd="1" destOrd="0" presId="urn:microsoft.com/office/officeart/2005/8/layout/orgChart1"/>
    <dgm:cxn modelId="{3C594C18-C5EC-47A9-B2E6-7684A10D13B8}" type="presOf" srcId="{AD30EE2C-612E-4D7A-9A9D-63748E547A4E}" destId="{E2C6E8CA-49E0-4ED9-8590-8C6DE8D745C9}" srcOrd="0" destOrd="0" presId="urn:microsoft.com/office/officeart/2005/8/layout/orgChart1"/>
    <dgm:cxn modelId="{75D8CC31-B0A7-42E0-ABD0-E753D48C722F}" type="presOf" srcId="{A67701C2-2154-49A9-AEE7-642B0F6E0EDA}" destId="{3C113E1E-FE54-4128-B244-37B8276C710C}" srcOrd="1" destOrd="0" presId="urn:microsoft.com/office/officeart/2005/8/layout/orgChart1"/>
    <dgm:cxn modelId="{4B3AF09B-29B5-432E-8673-8C6752AB21C7}" srcId="{17012AFC-D3C1-4556-BCA0-69E7EF7D426B}" destId="{7CE8175F-BCF0-4B92-A842-728EC78F57D8}" srcOrd="6" destOrd="0" parTransId="{3E8566DB-3FD9-4E15-964E-6C880A5BB489}" sibTransId="{266FE5F5-DC7C-4293-9928-2DDF57061B31}"/>
    <dgm:cxn modelId="{6FD98665-816B-4D72-916B-E0B3A8976042}" type="presOf" srcId="{97E78FE5-005F-480B-ADDD-02C500177BBA}" destId="{A60D6A16-F6F3-469C-998A-AD9746314B50}" srcOrd="0" destOrd="0" presId="urn:microsoft.com/office/officeart/2005/8/layout/orgChart1"/>
    <dgm:cxn modelId="{41DC3BDF-1547-4112-BA11-56902743FF8D}" srcId="{4A2B5A49-02C5-4CAF-B182-FD73BC39F0B6}" destId="{32925A20-E0E2-491B-BCB4-1CACA4A7DB4F}" srcOrd="3" destOrd="0" parTransId="{BB821B91-6134-47D8-8488-D39B8F6FB9F5}" sibTransId="{DDFBE557-D867-483E-91FE-2D29EEFD04B9}"/>
    <dgm:cxn modelId="{911E04DD-AC7F-47C1-976A-5F721F1B218C}" type="presOf" srcId="{3FA8E52E-41A8-4B79-88F3-ABDEBF17CD17}" destId="{B7CC506E-76AA-4F38-A791-F42D4C7CADF8}" srcOrd="0" destOrd="0" presId="urn:microsoft.com/office/officeart/2005/8/layout/orgChart1"/>
    <dgm:cxn modelId="{C4B8BB94-D8A6-4B8B-B5A4-F01EC1A8F5F8}" type="presOf" srcId="{8B3B7F3F-9569-4813-B483-35B81A80F496}" destId="{AF9B3472-43A8-400D-9CD2-962F2F9B4648}" srcOrd="1" destOrd="0" presId="urn:microsoft.com/office/officeart/2005/8/layout/orgChart1"/>
    <dgm:cxn modelId="{F29D3DD5-D362-42EC-9235-DF7EB1193EC7}" type="presOf" srcId="{50B3E178-BFC2-4416-AC2A-F7733BD7FD55}" destId="{5EE41A7C-9A60-4601-9E7F-353EBE225BC6}" srcOrd="0" destOrd="0" presId="urn:microsoft.com/office/officeart/2005/8/layout/orgChart1"/>
    <dgm:cxn modelId="{3BE76D5A-8B0D-418F-9613-11E926BEF060}" type="presOf" srcId="{DB7FB121-89FA-4FDA-BA06-6EB92D692684}" destId="{F613A01D-7200-4858-BD85-9D67C40E7C98}" srcOrd="1" destOrd="0" presId="urn:microsoft.com/office/officeart/2005/8/layout/orgChart1"/>
    <dgm:cxn modelId="{286E8F06-BB89-4A30-BDCB-2D6799BDD289}" type="presOf" srcId="{6FA0B268-20E6-499D-A943-270BC5C30AC9}" destId="{8912F301-E950-4E0C-B146-0A5185F9A67F}" srcOrd="0" destOrd="0" presId="urn:microsoft.com/office/officeart/2005/8/layout/orgChart1"/>
    <dgm:cxn modelId="{3331C5E8-9CDA-4A43-942C-8CC441026F8C}" type="presOf" srcId="{FF33382B-89C8-4B25-8169-CD7550BE112E}" destId="{C981F861-5079-4644-BDF7-785B038AC3AD}" srcOrd="0" destOrd="0" presId="urn:microsoft.com/office/officeart/2005/8/layout/orgChart1"/>
    <dgm:cxn modelId="{7CE4B070-D832-43BE-B048-E7B02A1AFA58}" srcId="{D9A67AE4-4575-43B7-A6F3-0BD58EA221F0}" destId="{C210B5A7-FC8F-4CFB-888B-78A66105B5E3}" srcOrd="1" destOrd="0" parTransId="{C86C1488-BD31-4F23-97DB-7C2B89FF3AD9}" sibTransId="{FFD25E3B-8967-48DE-80D4-340F432E9169}"/>
    <dgm:cxn modelId="{FBD30398-D6C9-40FE-A7FB-62A79AFAA1F2}" type="presOf" srcId="{A67701C2-2154-49A9-AEE7-642B0F6E0EDA}" destId="{EA59485D-2E2F-42CB-B81B-A0E1E3EA3A1C}" srcOrd="0" destOrd="0" presId="urn:microsoft.com/office/officeart/2005/8/layout/orgChart1"/>
    <dgm:cxn modelId="{B0745688-A1CC-4325-B904-9A95B95F270D}" type="presOf" srcId="{7520F216-6A93-4900-B03B-1CAE7FDB300B}" destId="{9D907A16-BA97-49F7-A8E0-04EB9E2BF3A6}" srcOrd="1" destOrd="0" presId="urn:microsoft.com/office/officeart/2005/8/layout/orgChart1"/>
    <dgm:cxn modelId="{15B14D79-9D12-4039-9189-B36948E4CAA5}" srcId="{4A2B5A49-02C5-4CAF-B182-FD73BC39F0B6}" destId="{07A97D4C-A6EA-472B-B9F4-9A14FB6975E8}" srcOrd="2" destOrd="0" parTransId="{50B3E178-BFC2-4416-AC2A-F7733BD7FD55}" sibTransId="{696D6805-C316-41B5-882F-4C7EE821847B}"/>
    <dgm:cxn modelId="{95645B8F-1086-435B-BF0F-6FEB5E0C87DB}" type="presOf" srcId="{DE6CB324-04C8-4039-A4A1-2D784450FD41}" destId="{8315F59C-535C-41A3-9977-47ED97AB1D59}" srcOrd="1" destOrd="0" presId="urn:microsoft.com/office/officeart/2005/8/layout/orgChart1"/>
    <dgm:cxn modelId="{694ED9D8-997C-40CB-B2B9-9CA76F6EEBD1}" srcId="{17012AFC-D3C1-4556-BCA0-69E7EF7D426B}" destId="{4F00BF85-AC72-481D-BE7B-D4C9F900999E}" srcOrd="0" destOrd="0" parTransId="{5E41AA33-18C8-4417-B53F-484A14595051}" sibTransId="{282FF86C-1827-4838-A6BF-3FFDB505CF60}"/>
    <dgm:cxn modelId="{557D6E5E-59E9-43D7-8845-F7FB07D1F166}" srcId="{3FA8E52E-41A8-4B79-88F3-ABDEBF17CD17}" destId="{E506AFA8-1B82-43BC-98C8-F80DC54DD35B}" srcOrd="0" destOrd="0" parTransId="{EF5E585F-3673-4CC4-9E22-D48DF4FE27E6}" sibTransId="{1E24B422-6D41-454D-BA4B-D634E2BDF376}"/>
    <dgm:cxn modelId="{898DBC21-7C5E-4714-AC64-933479320B24}" type="presOf" srcId="{E59C7045-2EF3-4659-8457-FC2DC2C82928}" destId="{61B4AA93-0842-4D55-B889-C5D4706F273C}" srcOrd="0" destOrd="0" presId="urn:microsoft.com/office/officeart/2005/8/layout/orgChart1"/>
    <dgm:cxn modelId="{A61C9F55-6449-4178-9CC6-F1D3CAA7F97D}" srcId="{C210B5A7-FC8F-4CFB-888B-78A66105B5E3}" destId="{8258131A-64F0-468E-89FA-30CD74677209}" srcOrd="0" destOrd="0" parTransId="{FF33382B-89C8-4B25-8169-CD7550BE112E}" sibTransId="{F2F6720F-1FA0-4D9D-AA63-E6FA9B6536EA}"/>
    <dgm:cxn modelId="{3818A852-7E02-4176-9B23-7070054FD95C}" srcId="{C210B5A7-FC8F-4CFB-888B-78A66105B5E3}" destId="{DE6CB324-04C8-4039-A4A1-2D784450FD41}" srcOrd="8" destOrd="0" parTransId="{128CD2A8-559B-42A1-B1A9-0396AC1A0AFE}" sibTransId="{6F693912-8461-40A5-A0DD-40F146CA405B}"/>
    <dgm:cxn modelId="{25D2806F-B49E-47EC-9BA5-D6D37CB1926D}" srcId="{17012AFC-D3C1-4556-BCA0-69E7EF7D426B}" destId="{8B3B7F3F-9569-4813-B483-35B81A80F496}" srcOrd="1" destOrd="0" parTransId="{2E1B0A68-5385-427D-BCDA-B3B9911E240A}" sibTransId="{E0589A92-A73B-4545-A5CA-F7B6316B1541}"/>
    <dgm:cxn modelId="{889E07D5-B3DA-49CD-A216-C666F0E36142}" srcId="{C210B5A7-FC8F-4CFB-888B-78A66105B5E3}" destId="{7520F216-6A93-4900-B03B-1CAE7FDB300B}" srcOrd="2" destOrd="0" parTransId="{4D12AA29-479B-49C6-9FF2-D77C0C9C8CC6}" sibTransId="{BA27681F-B8E8-4861-83D6-629C56782002}"/>
    <dgm:cxn modelId="{C7DD373B-A265-4E7E-A96E-3F1BC5B5FC3F}" srcId="{D9A67AE4-4575-43B7-A6F3-0BD58EA221F0}" destId="{4A2B5A49-02C5-4CAF-B182-FD73BC39F0B6}" srcOrd="2" destOrd="0" parTransId="{6FB800BF-C0D2-4431-90AD-DB6C6F916073}" sibTransId="{F330B70A-5047-4F52-80F0-426794C12634}"/>
    <dgm:cxn modelId="{24106185-18D9-48B1-AAE2-4FC69831F042}" srcId="{3FA8E52E-41A8-4B79-88F3-ABDEBF17CD17}" destId="{E59C7045-2EF3-4659-8457-FC2DC2C82928}" srcOrd="3" destOrd="0" parTransId="{B0DC9A8E-7A12-4BF0-8A96-882866292D90}" sibTransId="{EBD21BEC-BB3F-4363-BD34-812CD6EAD19C}"/>
    <dgm:cxn modelId="{CBEFB157-E296-4AF9-B054-3EE90D429E38}" srcId="{3FA8E52E-41A8-4B79-88F3-ABDEBF17CD17}" destId="{2758B6C3-6786-4A0A-94BA-3C0B87000D62}" srcOrd="1" destOrd="0" parTransId="{9C577F41-001A-42AE-AABF-54268D15A364}" sibTransId="{0F2659BC-333B-4BFD-B380-C47321237054}"/>
    <dgm:cxn modelId="{3F2D1490-EE9E-4A22-A01D-7EBE3EDEF732}" type="presOf" srcId="{C86C1488-BD31-4F23-97DB-7C2B89FF3AD9}" destId="{16194040-5E60-434D-BF92-83FD3BBE53B9}" srcOrd="0" destOrd="0" presId="urn:microsoft.com/office/officeart/2005/8/layout/orgChart1"/>
    <dgm:cxn modelId="{27EF7558-7EE9-4495-A9BE-0D7327562701}" type="presOf" srcId="{4F00BF85-AC72-481D-BE7B-D4C9F900999E}" destId="{6525961F-8FBD-4859-8DE6-CC029265436B}" srcOrd="0" destOrd="0" presId="urn:microsoft.com/office/officeart/2005/8/layout/orgChart1"/>
    <dgm:cxn modelId="{CE555152-1FF0-426E-A7C8-025A09690E7F}" type="presOf" srcId="{2D341EAF-8E02-4FFB-8BC7-8E749BCA3386}" destId="{A98729FF-77F6-46B8-967E-2555C25F663E}" srcOrd="1" destOrd="0" presId="urn:microsoft.com/office/officeart/2005/8/layout/orgChart1"/>
    <dgm:cxn modelId="{B8E4E1B7-239B-4D24-AE94-01FBF74FE3FC}" type="presOf" srcId="{772FF846-B977-4229-8998-FD334892F6D6}" destId="{7095D4F8-1C8A-4F9A-9B63-236944966ED1}" srcOrd="1" destOrd="0" presId="urn:microsoft.com/office/officeart/2005/8/layout/orgChart1"/>
    <dgm:cxn modelId="{52212B2F-D339-4D5D-9D98-108DBC54A302}" type="presOf" srcId="{7CE8175F-BCF0-4B92-A842-728EC78F57D8}" destId="{342F66C1-B350-4FB9-B560-508F7697197D}" srcOrd="1" destOrd="0" presId="urn:microsoft.com/office/officeart/2005/8/layout/orgChart1"/>
    <dgm:cxn modelId="{7AB8B58D-2DCA-486A-90CC-832BE1CA66F3}" type="presParOf" srcId="{C80C8456-3BBA-45FD-AD23-3C06B4C3CF8C}" destId="{F88D0735-F9A5-4838-BF81-5F41B1860C85}" srcOrd="0" destOrd="0" presId="urn:microsoft.com/office/officeart/2005/8/layout/orgChart1"/>
    <dgm:cxn modelId="{9FF83C14-1B44-45D5-A222-CB9F9BDC1CF4}" type="presParOf" srcId="{F88D0735-F9A5-4838-BF81-5F41B1860C85}" destId="{3AF30B77-46B7-4926-8FDC-1C8E1DF50EF1}" srcOrd="0" destOrd="0" presId="urn:microsoft.com/office/officeart/2005/8/layout/orgChart1"/>
    <dgm:cxn modelId="{34ED2A36-75F6-484A-8DC8-5434D32FD926}" type="presParOf" srcId="{3AF30B77-46B7-4926-8FDC-1C8E1DF50EF1}" destId="{4647B7EA-AC87-4476-9537-D181D7693287}" srcOrd="0" destOrd="0" presId="urn:microsoft.com/office/officeart/2005/8/layout/orgChart1"/>
    <dgm:cxn modelId="{C17042FA-1580-4E3D-8B4B-D4CD17617EED}" type="presParOf" srcId="{3AF30B77-46B7-4926-8FDC-1C8E1DF50EF1}" destId="{11C8C23B-B493-47C5-9205-B34A41C8E805}" srcOrd="1" destOrd="0" presId="urn:microsoft.com/office/officeart/2005/8/layout/orgChart1"/>
    <dgm:cxn modelId="{90491759-AEDB-41BF-80EB-3599A374A30E}" type="presParOf" srcId="{F88D0735-F9A5-4838-BF81-5F41B1860C85}" destId="{6ADA6EB7-E841-4017-AB6F-9758EC075640}" srcOrd="1" destOrd="0" presId="urn:microsoft.com/office/officeart/2005/8/layout/orgChart1"/>
    <dgm:cxn modelId="{01B948AE-09E9-4A18-8533-270C84129DC2}" type="presParOf" srcId="{6ADA6EB7-E841-4017-AB6F-9758EC075640}" destId="{D8734DF8-E79C-44E6-9764-7B2B826E2D1C}" srcOrd="0" destOrd="0" presId="urn:microsoft.com/office/officeart/2005/8/layout/orgChart1"/>
    <dgm:cxn modelId="{87FC296C-0F37-46EC-A2C8-1FD575617F8C}" type="presParOf" srcId="{6ADA6EB7-E841-4017-AB6F-9758EC075640}" destId="{3BF45422-8F93-428C-91EC-E06D9991B6FE}" srcOrd="1" destOrd="0" presId="urn:microsoft.com/office/officeart/2005/8/layout/orgChart1"/>
    <dgm:cxn modelId="{DE83E639-2F8A-4AE4-B8BF-76C52A39FB25}" type="presParOf" srcId="{3BF45422-8F93-428C-91EC-E06D9991B6FE}" destId="{8CEB8CCE-8615-474E-83B5-07DDBEFCE369}" srcOrd="0" destOrd="0" presId="urn:microsoft.com/office/officeart/2005/8/layout/orgChart1"/>
    <dgm:cxn modelId="{B5164380-D89F-4FB6-A9AB-FE0994F19010}" type="presParOf" srcId="{8CEB8CCE-8615-474E-83B5-07DDBEFCE369}" destId="{B7CC506E-76AA-4F38-A791-F42D4C7CADF8}" srcOrd="0" destOrd="0" presId="urn:microsoft.com/office/officeart/2005/8/layout/orgChart1"/>
    <dgm:cxn modelId="{FA0713F2-879A-4037-A103-C0824DB0B0ED}" type="presParOf" srcId="{8CEB8CCE-8615-474E-83B5-07DDBEFCE369}" destId="{9A3B73B8-A734-4DA9-B323-C843A6C97FD7}" srcOrd="1" destOrd="0" presId="urn:microsoft.com/office/officeart/2005/8/layout/orgChart1"/>
    <dgm:cxn modelId="{140B2B4F-3C74-4231-902B-F4E68D6DA63A}" type="presParOf" srcId="{3BF45422-8F93-428C-91EC-E06D9991B6FE}" destId="{EE113FB6-5CEC-4C8E-8E8F-E1126C6E7BAF}" srcOrd="1" destOrd="0" presId="urn:microsoft.com/office/officeart/2005/8/layout/orgChart1"/>
    <dgm:cxn modelId="{0D7FBA1B-B2DD-4C70-8763-76E5EB810463}" type="presParOf" srcId="{EE113FB6-5CEC-4C8E-8E8F-E1126C6E7BAF}" destId="{1E6F7728-0201-4A15-AC95-CC7E377B1A72}" srcOrd="0" destOrd="0" presId="urn:microsoft.com/office/officeart/2005/8/layout/orgChart1"/>
    <dgm:cxn modelId="{84F1BE05-379E-414E-AE60-D1A42B037856}" type="presParOf" srcId="{EE113FB6-5CEC-4C8E-8E8F-E1126C6E7BAF}" destId="{FF7C084A-888B-49ED-9D1D-C688AFE06D8A}" srcOrd="1" destOrd="0" presId="urn:microsoft.com/office/officeart/2005/8/layout/orgChart1"/>
    <dgm:cxn modelId="{29AE2A8D-119C-4A35-ADE8-B80537C9F963}" type="presParOf" srcId="{FF7C084A-888B-49ED-9D1D-C688AFE06D8A}" destId="{5B767B2E-DABF-46EA-AA3A-68FBBCE70CEF}" srcOrd="0" destOrd="0" presId="urn:microsoft.com/office/officeart/2005/8/layout/orgChart1"/>
    <dgm:cxn modelId="{2F7477AE-5D0B-477A-BE68-F73F24A99E36}" type="presParOf" srcId="{5B767B2E-DABF-46EA-AA3A-68FBBCE70CEF}" destId="{AD2E7CCF-8632-48BA-AB5F-38D672160CB7}" srcOrd="0" destOrd="0" presId="urn:microsoft.com/office/officeart/2005/8/layout/orgChart1"/>
    <dgm:cxn modelId="{F82FDB2B-0B85-47FC-8210-9C22E2EC4D69}" type="presParOf" srcId="{5B767B2E-DABF-46EA-AA3A-68FBBCE70CEF}" destId="{CC4D928E-8FD4-48D7-883D-76404CA06E7E}" srcOrd="1" destOrd="0" presId="urn:microsoft.com/office/officeart/2005/8/layout/orgChart1"/>
    <dgm:cxn modelId="{26336637-9332-4361-847E-EA93F3CEDBBB}" type="presParOf" srcId="{FF7C084A-888B-49ED-9D1D-C688AFE06D8A}" destId="{FA32E815-7F22-426A-90B0-8E402FE47375}" srcOrd="1" destOrd="0" presId="urn:microsoft.com/office/officeart/2005/8/layout/orgChart1"/>
    <dgm:cxn modelId="{A0DA0FAA-2128-4984-9B9F-090790675051}" type="presParOf" srcId="{FF7C084A-888B-49ED-9D1D-C688AFE06D8A}" destId="{18F8BF39-FA26-4730-97B0-68D18375DDD3}" srcOrd="2" destOrd="0" presId="urn:microsoft.com/office/officeart/2005/8/layout/orgChart1"/>
    <dgm:cxn modelId="{0246AB75-7E24-4D7C-9F35-6952A5C755FE}" type="presParOf" srcId="{EE113FB6-5CEC-4C8E-8E8F-E1126C6E7BAF}" destId="{E69AAF95-112D-4CA3-8B25-A2C1AA2BFB20}" srcOrd="2" destOrd="0" presId="urn:microsoft.com/office/officeart/2005/8/layout/orgChart1"/>
    <dgm:cxn modelId="{900C0298-EC9F-4326-B649-C9245D4FED33}" type="presParOf" srcId="{EE113FB6-5CEC-4C8E-8E8F-E1126C6E7BAF}" destId="{80A3AA10-C1FA-471D-A249-6AFB3714DCB8}" srcOrd="3" destOrd="0" presId="urn:microsoft.com/office/officeart/2005/8/layout/orgChart1"/>
    <dgm:cxn modelId="{A046292F-AF10-4DA6-BCDB-1E5D5760A7BC}" type="presParOf" srcId="{80A3AA10-C1FA-471D-A249-6AFB3714DCB8}" destId="{A88FBACF-46A7-4A42-A1E4-BC43DEA31223}" srcOrd="0" destOrd="0" presId="urn:microsoft.com/office/officeart/2005/8/layout/orgChart1"/>
    <dgm:cxn modelId="{3CA8A8CD-9E41-4E53-A139-FA7C7ED0C0E6}" type="presParOf" srcId="{A88FBACF-46A7-4A42-A1E4-BC43DEA31223}" destId="{3AC870FB-C26A-455D-A787-26FB8A768500}" srcOrd="0" destOrd="0" presId="urn:microsoft.com/office/officeart/2005/8/layout/orgChart1"/>
    <dgm:cxn modelId="{84734C50-6C11-4638-A335-FE4FCA42FFE3}" type="presParOf" srcId="{A88FBACF-46A7-4A42-A1E4-BC43DEA31223}" destId="{E350FF0A-3899-4666-BFBB-4391AE4ED83D}" srcOrd="1" destOrd="0" presId="urn:microsoft.com/office/officeart/2005/8/layout/orgChart1"/>
    <dgm:cxn modelId="{F250036A-4BC2-4E1F-9C0E-4C91ACEF4207}" type="presParOf" srcId="{80A3AA10-C1FA-471D-A249-6AFB3714DCB8}" destId="{85CF59DE-9063-4A6A-825C-7A44436C0528}" srcOrd="1" destOrd="0" presId="urn:microsoft.com/office/officeart/2005/8/layout/orgChart1"/>
    <dgm:cxn modelId="{3AB1FD2A-D531-444D-9602-0DADCC0BF994}" type="presParOf" srcId="{80A3AA10-C1FA-471D-A249-6AFB3714DCB8}" destId="{9C2EBD5A-543C-42FB-A080-47829399EF4A}" srcOrd="2" destOrd="0" presId="urn:microsoft.com/office/officeart/2005/8/layout/orgChart1"/>
    <dgm:cxn modelId="{B1D4E057-D089-47DC-90D5-5418EE02C904}" type="presParOf" srcId="{EE113FB6-5CEC-4C8E-8E8F-E1126C6E7BAF}" destId="{8912F301-E950-4E0C-B146-0A5185F9A67F}" srcOrd="4" destOrd="0" presId="urn:microsoft.com/office/officeart/2005/8/layout/orgChart1"/>
    <dgm:cxn modelId="{BEF54516-3704-47BF-819B-C4DDEE0A0571}" type="presParOf" srcId="{EE113FB6-5CEC-4C8E-8E8F-E1126C6E7BAF}" destId="{834BCB6B-E703-4F1D-921C-98C1AA78C974}" srcOrd="5" destOrd="0" presId="urn:microsoft.com/office/officeart/2005/8/layout/orgChart1"/>
    <dgm:cxn modelId="{71F6FF5A-2FED-42D2-B140-34D90D5F3675}" type="presParOf" srcId="{834BCB6B-E703-4F1D-921C-98C1AA78C974}" destId="{AF158338-D549-4974-9E57-FC481999E22C}" srcOrd="0" destOrd="0" presId="urn:microsoft.com/office/officeart/2005/8/layout/orgChart1"/>
    <dgm:cxn modelId="{29D4DC1A-6547-49A4-A81B-3E99174470F1}" type="presParOf" srcId="{AF158338-D549-4974-9E57-FC481999E22C}" destId="{68F9805C-8CAE-4938-9623-6375F921F333}" srcOrd="0" destOrd="0" presId="urn:microsoft.com/office/officeart/2005/8/layout/orgChart1"/>
    <dgm:cxn modelId="{88509973-E24C-4DF8-B575-EAFDD5AF4ADF}" type="presParOf" srcId="{AF158338-D549-4974-9E57-FC481999E22C}" destId="{EED161AF-40AD-43B2-8B46-38DF36ECA8B3}" srcOrd="1" destOrd="0" presId="urn:microsoft.com/office/officeart/2005/8/layout/orgChart1"/>
    <dgm:cxn modelId="{BDDB2817-7835-4ACE-9C60-94CFB2F58533}" type="presParOf" srcId="{834BCB6B-E703-4F1D-921C-98C1AA78C974}" destId="{A48F0EED-10B4-43B4-8314-E035F4FF4276}" srcOrd="1" destOrd="0" presId="urn:microsoft.com/office/officeart/2005/8/layout/orgChart1"/>
    <dgm:cxn modelId="{C5172108-3B7B-4F6E-A74B-B0139486719D}" type="presParOf" srcId="{834BCB6B-E703-4F1D-921C-98C1AA78C974}" destId="{E10B221C-A66C-4977-B1B3-3DB40C85D802}" srcOrd="2" destOrd="0" presId="urn:microsoft.com/office/officeart/2005/8/layout/orgChart1"/>
    <dgm:cxn modelId="{F1DD20D7-6E30-4DAA-ABEF-6BCE4CBEC502}" type="presParOf" srcId="{EE113FB6-5CEC-4C8E-8E8F-E1126C6E7BAF}" destId="{59553AB9-15C6-41A5-86D0-0A8B70218E8B}" srcOrd="6" destOrd="0" presId="urn:microsoft.com/office/officeart/2005/8/layout/orgChart1"/>
    <dgm:cxn modelId="{6B7FE228-061C-4F67-8C6F-0859530BCDD7}" type="presParOf" srcId="{EE113FB6-5CEC-4C8E-8E8F-E1126C6E7BAF}" destId="{B52134F1-1856-4C86-A778-3A7D191FACBC}" srcOrd="7" destOrd="0" presId="urn:microsoft.com/office/officeart/2005/8/layout/orgChart1"/>
    <dgm:cxn modelId="{337DAAAD-8FE9-4564-AA96-58C77EE90BDD}" type="presParOf" srcId="{B52134F1-1856-4C86-A778-3A7D191FACBC}" destId="{0B4A54DC-C4AF-4F2B-9936-BD4F6AA0CF52}" srcOrd="0" destOrd="0" presId="urn:microsoft.com/office/officeart/2005/8/layout/orgChart1"/>
    <dgm:cxn modelId="{80D818A0-7F2D-47A2-8DA2-2A8A2D4F1022}" type="presParOf" srcId="{0B4A54DC-C4AF-4F2B-9936-BD4F6AA0CF52}" destId="{61B4AA93-0842-4D55-B889-C5D4706F273C}" srcOrd="0" destOrd="0" presId="urn:microsoft.com/office/officeart/2005/8/layout/orgChart1"/>
    <dgm:cxn modelId="{4CD51A49-C0F5-4B88-920D-E3BD027ADE9E}" type="presParOf" srcId="{0B4A54DC-C4AF-4F2B-9936-BD4F6AA0CF52}" destId="{E846EEA4-3606-4E73-993D-7A44D043C02F}" srcOrd="1" destOrd="0" presId="urn:microsoft.com/office/officeart/2005/8/layout/orgChart1"/>
    <dgm:cxn modelId="{DBBB9B86-4A54-4175-9021-7F2A886FA81B}" type="presParOf" srcId="{B52134F1-1856-4C86-A778-3A7D191FACBC}" destId="{2FA24229-AE3F-44B6-8627-7B111FEBB73B}" srcOrd="1" destOrd="0" presId="urn:microsoft.com/office/officeart/2005/8/layout/orgChart1"/>
    <dgm:cxn modelId="{0AC03601-9788-4CF3-86E4-EC2238CEA891}" type="presParOf" srcId="{B52134F1-1856-4C86-A778-3A7D191FACBC}" destId="{CC4B2863-8354-4EE9-8135-BEA83B40949F}" srcOrd="2" destOrd="0" presId="urn:microsoft.com/office/officeart/2005/8/layout/orgChart1"/>
    <dgm:cxn modelId="{7A1FC82F-983C-4B98-8997-0708DAA9EDA6}" type="presParOf" srcId="{EE113FB6-5CEC-4C8E-8E8F-E1126C6E7BAF}" destId="{E2C6E8CA-49E0-4ED9-8590-8C6DE8D745C9}" srcOrd="8" destOrd="0" presId="urn:microsoft.com/office/officeart/2005/8/layout/orgChart1"/>
    <dgm:cxn modelId="{E8840DA8-EF13-401A-A307-F288298A64FC}" type="presParOf" srcId="{EE113FB6-5CEC-4C8E-8E8F-E1126C6E7BAF}" destId="{0D50DA4F-9586-41F2-91B6-BC19DB900CA3}" srcOrd="9" destOrd="0" presId="urn:microsoft.com/office/officeart/2005/8/layout/orgChart1"/>
    <dgm:cxn modelId="{698F7C5B-3ACA-469F-A44E-6D31AF10AA47}" type="presParOf" srcId="{0D50DA4F-9586-41F2-91B6-BC19DB900CA3}" destId="{9CCCE715-3EF9-48A9-BC41-62EC08586110}" srcOrd="0" destOrd="0" presId="urn:microsoft.com/office/officeart/2005/8/layout/orgChart1"/>
    <dgm:cxn modelId="{47847136-08A7-4E03-94EC-A32431D8D679}" type="presParOf" srcId="{9CCCE715-3EF9-48A9-BC41-62EC08586110}" destId="{3D806196-A09E-42B6-89DA-5DE151B649CC}" srcOrd="0" destOrd="0" presId="urn:microsoft.com/office/officeart/2005/8/layout/orgChart1"/>
    <dgm:cxn modelId="{211B4EB4-B6AE-43D7-9E19-DFDFEDC08013}" type="presParOf" srcId="{9CCCE715-3EF9-48A9-BC41-62EC08586110}" destId="{267C9922-0B84-4AEE-9817-7077676D94D7}" srcOrd="1" destOrd="0" presId="urn:microsoft.com/office/officeart/2005/8/layout/orgChart1"/>
    <dgm:cxn modelId="{106A28D5-E9E1-41D0-BCA4-FC5591302926}" type="presParOf" srcId="{0D50DA4F-9586-41F2-91B6-BC19DB900CA3}" destId="{99A7B307-B6C1-45CF-A195-50D3AFA0DFD9}" srcOrd="1" destOrd="0" presId="urn:microsoft.com/office/officeart/2005/8/layout/orgChart1"/>
    <dgm:cxn modelId="{3893D753-9016-402B-AB85-9B9A43A29017}" type="presParOf" srcId="{0D50DA4F-9586-41F2-91B6-BC19DB900CA3}" destId="{89B5850F-0E35-45C4-8339-C0B5560752D2}" srcOrd="2" destOrd="0" presId="urn:microsoft.com/office/officeart/2005/8/layout/orgChart1"/>
    <dgm:cxn modelId="{CFD4953E-ACA9-4BA7-83E7-5F353F14C19B}" type="presParOf" srcId="{EE113FB6-5CEC-4C8E-8E8F-E1126C6E7BAF}" destId="{EB7A51C9-2A3B-4023-940F-7A577F808009}" srcOrd="10" destOrd="0" presId="urn:microsoft.com/office/officeart/2005/8/layout/orgChart1"/>
    <dgm:cxn modelId="{6718953B-302C-42C4-9007-866368049C1A}" type="presParOf" srcId="{EE113FB6-5CEC-4C8E-8E8F-E1126C6E7BAF}" destId="{246507F2-0C22-4B24-A251-2A3228A61CE7}" srcOrd="11" destOrd="0" presId="urn:microsoft.com/office/officeart/2005/8/layout/orgChart1"/>
    <dgm:cxn modelId="{176F7620-B863-468B-84AB-EAF8AFFA4364}" type="presParOf" srcId="{246507F2-0C22-4B24-A251-2A3228A61CE7}" destId="{D77675F7-B28C-4D4B-84E1-B4DD449ADF02}" srcOrd="0" destOrd="0" presId="urn:microsoft.com/office/officeart/2005/8/layout/orgChart1"/>
    <dgm:cxn modelId="{0B04E4CB-F9CB-48AB-986A-A5A77EC95C4E}" type="presParOf" srcId="{D77675F7-B28C-4D4B-84E1-B4DD449ADF02}" destId="{4C1F4693-C8EA-4D49-A3D3-8D6D9A6A79CE}" srcOrd="0" destOrd="0" presId="urn:microsoft.com/office/officeart/2005/8/layout/orgChart1"/>
    <dgm:cxn modelId="{1036D62D-4C2A-4D27-BE2F-60F2F453E61D}" type="presParOf" srcId="{D77675F7-B28C-4D4B-84E1-B4DD449ADF02}" destId="{6FCF4D04-EFDA-413E-8BA0-F4AD778E5115}" srcOrd="1" destOrd="0" presId="urn:microsoft.com/office/officeart/2005/8/layout/orgChart1"/>
    <dgm:cxn modelId="{7B0500DD-706C-4297-84C6-99B3B1E46F14}" type="presParOf" srcId="{246507F2-0C22-4B24-A251-2A3228A61CE7}" destId="{A0FB8380-7C63-4614-AC2A-5B0EBE61DAFD}" srcOrd="1" destOrd="0" presId="urn:microsoft.com/office/officeart/2005/8/layout/orgChart1"/>
    <dgm:cxn modelId="{1937302E-358F-4215-9271-42DEE13F730A}" type="presParOf" srcId="{246507F2-0C22-4B24-A251-2A3228A61CE7}" destId="{CAB8D789-09E7-436B-8A7E-FA0CCF8BC7DA}" srcOrd="2" destOrd="0" presId="urn:microsoft.com/office/officeart/2005/8/layout/orgChart1"/>
    <dgm:cxn modelId="{BEB31611-FBB3-4DC4-82FC-439C9425D88F}" type="presParOf" srcId="{3BF45422-8F93-428C-91EC-E06D9991B6FE}" destId="{CDD23DDC-118A-4A96-B6A6-9F156A5E2A9D}" srcOrd="2" destOrd="0" presId="urn:microsoft.com/office/officeart/2005/8/layout/orgChart1"/>
    <dgm:cxn modelId="{A6781CC5-6AF2-4F96-9C60-A233CF4C624D}" type="presParOf" srcId="{6ADA6EB7-E841-4017-AB6F-9758EC075640}" destId="{16194040-5E60-434D-BF92-83FD3BBE53B9}" srcOrd="2" destOrd="0" presId="urn:microsoft.com/office/officeart/2005/8/layout/orgChart1"/>
    <dgm:cxn modelId="{65D08F1B-9194-4FD9-9889-32E572327B81}" type="presParOf" srcId="{6ADA6EB7-E841-4017-AB6F-9758EC075640}" destId="{9737D7A7-63F3-48BF-9933-04C5C8E1822C}" srcOrd="3" destOrd="0" presId="urn:microsoft.com/office/officeart/2005/8/layout/orgChart1"/>
    <dgm:cxn modelId="{783ECA8B-AE16-4878-AE7F-BC10C8A539E2}" type="presParOf" srcId="{9737D7A7-63F3-48BF-9933-04C5C8E1822C}" destId="{A972BEBF-FC6A-4D64-AD40-05A77994A454}" srcOrd="0" destOrd="0" presId="urn:microsoft.com/office/officeart/2005/8/layout/orgChart1"/>
    <dgm:cxn modelId="{F6B71662-A034-4156-8B79-E4A3B06D9B80}" type="presParOf" srcId="{A972BEBF-FC6A-4D64-AD40-05A77994A454}" destId="{C633A689-B769-440B-A61E-472B58BC51D4}" srcOrd="0" destOrd="0" presId="urn:microsoft.com/office/officeart/2005/8/layout/orgChart1"/>
    <dgm:cxn modelId="{8E299E83-4CD9-4E97-912B-A4E98B1FA5E4}" type="presParOf" srcId="{A972BEBF-FC6A-4D64-AD40-05A77994A454}" destId="{BBF4301C-272D-4A88-904A-92188D17DA3C}" srcOrd="1" destOrd="0" presId="urn:microsoft.com/office/officeart/2005/8/layout/orgChart1"/>
    <dgm:cxn modelId="{71B1493F-60B3-42A6-A32E-7D7915550673}" type="presParOf" srcId="{9737D7A7-63F3-48BF-9933-04C5C8E1822C}" destId="{D9FC4B45-3F3E-44FD-BCD4-EE579804DF83}" srcOrd="1" destOrd="0" presId="urn:microsoft.com/office/officeart/2005/8/layout/orgChart1"/>
    <dgm:cxn modelId="{23034E5C-A7A6-40A2-A3A2-F9A1B5204353}" type="presParOf" srcId="{D9FC4B45-3F3E-44FD-BCD4-EE579804DF83}" destId="{C981F861-5079-4644-BDF7-785B038AC3AD}" srcOrd="0" destOrd="0" presId="urn:microsoft.com/office/officeart/2005/8/layout/orgChart1"/>
    <dgm:cxn modelId="{597A98DB-9285-4608-A735-51571A25EB45}" type="presParOf" srcId="{D9FC4B45-3F3E-44FD-BCD4-EE579804DF83}" destId="{BEBCB5B0-E952-4A7B-B366-2BD915D026FA}" srcOrd="1" destOrd="0" presId="urn:microsoft.com/office/officeart/2005/8/layout/orgChart1"/>
    <dgm:cxn modelId="{4C890262-84C8-4A51-B10D-59FCF9F7CBBB}" type="presParOf" srcId="{BEBCB5B0-E952-4A7B-B366-2BD915D026FA}" destId="{45EF025C-4C3D-4E6F-84F2-3559FBE2A839}" srcOrd="0" destOrd="0" presId="urn:microsoft.com/office/officeart/2005/8/layout/orgChart1"/>
    <dgm:cxn modelId="{EEBC6956-B9D3-44AA-B084-23A667E5F316}" type="presParOf" srcId="{45EF025C-4C3D-4E6F-84F2-3559FBE2A839}" destId="{C52F6E7A-06EB-4ED7-9448-A059B6929A94}" srcOrd="0" destOrd="0" presId="urn:microsoft.com/office/officeart/2005/8/layout/orgChart1"/>
    <dgm:cxn modelId="{0270E99D-F9CA-4584-8FB5-BC73DA0F2806}" type="presParOf" srcId="{45EF025C-4C3D-4E6F-84F2-3559FBE2A839}" destId="{A0C33D3F-A411-47FC-90AA-856B0B304567}" srcOrd="1" destOrd="0" presId="urn:microsoft.com/office/officeart/2005/8/layout/orgChart1"/>
    <dgm:cxn modelId="{C20A8212-6504-4E8C-AB22-5A0C35BA095A}" type="presParOf" srcId="{BEBCB5B0-E952-4A7B-B366-2BD915D026FA}" destId="{A7254F57-CE6A-451A-8333-3E530B873865}" srcOrd="1" destOrd="0" presId="urn:microsoft.com/office/officeart/2005/8/layout/orgChart1"/>
    <dgm:cxn modelId="{FA9E7895-E80B-4234-BA8E-D1C08F086475}" type="presParOf" srcId="{BEBCB5B0-E952-4A7B-B366-2BD915D026FA}" destId="{C4BDD475-7121-4C22-874C-C1A929C08BF4}" srcOrd="2" destOrd="0" presId="urn:microsoft.com/office/officeart/2005/8/layout/orgChart1"/>
    <dgm:cxn modelId="{42F4803A-3B67-4141-BCCD-932B32D55277}" type="presParOf" srcId="{D9FC4B45-3F3E-44FD-BCD4-EE579804DF83}" destId="{DE8D8668-96E8-4FBC-8F48-E04927E8AF75}" srcOrd="2" destOrd="0" presId="urn:microsoft.com/office/officeart/2005/8/layout/orgChart1"/>
    <dgm:cxn modelId="{A7406B90-87C6-41DC-9B34-7D4B92377617}" type="presParOf" srcId="{D9FC4B45-3F3E-44FD-BCD4-EE579804DF83}" destId="{88FB0867-D1E0-45B1-BB04-D32B49A053A3}" srcOrd="3" destOrd="0" presId="urn:microsoft.com/office/officeart/2005/8/layout/orgChart1"/>
    <dgm:cxn modelId="{BF2D0D1C-6C44-48E5-9CCE-B6928BDFD587}" type="presParOf" srcId="{88FB0867-D1E0-45B1-BB04-D32B49A053A3}" destId="{BFD5BFA4-C2BA-484A-BD28-7C2D992780AE}" srcOrd="0" destOrd="0" presId="urn:microsoft.com/office/officeart/2005/8/layout/orgChart1"/>
    <dgm:cxn modelId="{C30A849D-ECBA-411E-98F9-5A4E912C6A85}" type="presParOf" srcId="{BFD5BFA4-C2BA-484A-BD28-7C2D992780AE}" destId="{FA874DA8-4D76-40E4-B03F-68097D2BD076}" srcOrd="0" destOrd="0" presId="urn:microsoft.com/office/officeart/2005/8/layout/orgChart1"/>
    <dgm:cxn modelId="{B2FDB9B5-F68E-4D26-AFB3-B9DCF6FE8A15}" type="presParOf" srcId="{BFD5BFA4-C2BA-484A-BD28-7C2D992780AE}" destId="{F613A01D-7200-4858-BD85-9D67C40E7C98}" srcOrd="1" destOrd="0" presId="urn:microsoft.com/office/officeart/2005/8/layout/orgChart1"/>
    <dgm:cxn modelId="{D86B5E68-34C4-43A0-918E-E352331E3D2C}" type="presParOf" srcId="{88FB0867-D1E0-45B1-BB04-D32B49A053A3}" destId="{D17AC95D-A425-4D2A-BCE1-F8871780ECC2}" srcOrd="1" destOrd="0" presId="urn:microsoft.com/office/officeart/2005/8/layout/orgChart1"/>
    <dgm:cxn modelId="{D2978B5D-FB72-45CE-A48F-D90A22F08A10}" type="presParOf" srcId="{88FB0867-D1E0-45B1-BB04-D32B49A053A3}" destId="{26B3467B-C8EA-4D03-9045-021F1A08FBFD}" srcOrd="2" destOrd="0" presId="urn:microsoft.com/office/officeart/2005/8/layout/orgChart1"/>
    <dgm:cxn modelId="{6797C7F6-9D4F-4228-AEE0-BC6EA51BEC55}" type="presParOf" srcId="{D9FC4B45-3F3E-44FD-BCD4-EE579804DF83}" destId="{DF2A5BDB-731B-4743-8645-30CC461A515D}" srcOrd="4" destOrd="0" presId="urn:microsoft.com/office/officeart/2005/8/layout/orgChart1"/>
    <dgm:cxn modelId="{F676F10D-A77E-4AEF-8A0C-061E2FAD3D4A}" type="presParOf" srcId="{D9FC4B45-3F3E-44FD-BCD4-EE579804DF83}" destId="{F222851E-2C4A-438E-84CC-EEBEF9673ED1}" srcOrd="5" destOrd="0" presId="urn:microsoft.com/office/officeart/2005/8/layout/orgChart1"/>
    <dgm:cxn modelId="{1BB7F070-A4D2-4654-9DB9-E1E498BDB8C5}" type="presParOf" srcId="{F222851E-2C4A-438E-84CC-EEBEF9673ED1}" destId="{2FA5E372-4952-48CE-9BF7-15A2B7F76045}" srcOrd="0" destOrd="0" presId="urn:microsoft.com/office/officeart/2005/8/layout/orgChart1"/>
    <dgm:cxn modelId="{CC08C582-B053-4767-B585-B9696159A2E6}" type="presParOf" srcId="{2FA5E372-4952-48CE-9BF7-15A2B7F76045}" destId="{04410A4D-7DCC-4946-8471-DFD4EE5F71CD}" srcOrd="0" destOrd="0" presId="urn:microsoft.com/office/officeart/2005/8/layout/orgChart1"/>
    <dgm:cxn modelId="{35C4CEDC-BBEB-41D0-A88A-8F72DE80C244}" type="presParOf" srcId="{2FA5E372-4952-48CE-9BF7-15A2B7F76045}" destId="{9D907A16-BA97-49F7-A8E0-04EB9E2BF3A6}" srcOrd="1" destOrd="0" presId="urn:microsoft.com/office/officeart/2005/8/layout/orgChart1"/>
    <dgm:cxn modelId="{FE71251F-8EA8-4E90-B16B-C021D8BB2B1E}" type="presParOf" srcId="{F222851E-2C4A-438E-84CC-EEBEF9673ED1}" destId="{A90F16CA-A95E-41A3-B02F-4344A4FB0D74}" srcOrd="1" destOrd="0" presId="urn:microsoft.com/office/officeart/2005/8/layout/orgChart1"/>
    <dgm:cxn modelId="{479FCB8C-9312-4C75-B09E-BBF7DA281E20}" type="presParOf" srcId="{F222851E-2C4A-438E-84CC-EEBEF9673ED1}" destId="{C4475F51-E6C7-4F33-810C-B97B00BA8D02}" srcOrd="2" destOrd="0" presId="urn:microsoft.com/office/officeart/2005/8/layout/orgChart1"/>
    <dgm:cxn modelId="{66D4E6CD-0D12-4B52-B889-EDFC64A7C37D}" type="presParOf" srcId="{D9FC4B45-3F3E-44FD-BCD4-EE579804DF83}" destId="{B743BF5E-8E74-4AA4-AF77-FEB591727596}" srcOrd="6" destOrd="0" presId="urn:microsoft.com/office/officeart/2005/8/layout/orgChart1"/>
    <dgm:cxn modelId="{CF07C9CC-5AA3-4CC0-AD3F-B4361D00B9AE}" type="presParOf" srcId="{D9FC4B45-3F3E-44FD-BCD4-EE579804DF83}" destId="{CD5184F5-D5F6-46CC-97B3-EBCFD5902623}" srcOrd="7" destOrd="0" presId="urn:microsoft.com/office/officeart/2005/8/layout/orgChart1"/>
    <dgm:cxn modelId="{8AC233AF-585B-44D1-80C7-377E9496DF60}" type="presParOf" srcId="{CD5184F5-D5F6-46CC-97B3-EBCFD5902623}" destId="{C56F44D4-5F14-493A-BE16-DF4F2EFE43BF}" srcOrd="0" destOrd="0" presId="urn:microsoft.com/office/officeart/2005/8/layout/orgChart1"/>
    <dgm:cxn modelId="{1F976CEE-A481-4EF4-B046-8543EBE8D636}" type="presParOf" srcId="{C56F44D4-5F14-493A-BE16-DF4F2EFE43BF}" destId="{0E40AEC0-2671-423A-8A47-DC6E1E2C8277}" srcOrd="0" destOrd="0" presId="urn:microsoft.com/office/officeart/2005/8/layout/orgChart1"/>
    <dgm:cxn modelId="{583C95AC-CBC9-4438-8BCE-CAD9A49B93AA}" type="presParOf" srcId="{C56F44D4-5F14-493A-BE16-DF4F2EFE43BF}" destId="{0415C0B4-BF22-4E0A-9719-027F6097DCDD}" srcOrd="1" destOrd="0" presId="urn:microsoft.com/office/officeart/2005/8/layout/orgChart1"/>
    <dgm:cxn modelId="{6F6C911E-B022-41FB-8970-D112AB62AEF3}" type="presParOf" srcId="{CD5184F5-D5F6-46CC-97B3-EBCFD5902623}" destId="{0C0E6B72-C126-415D-880A-22C7AC233C4C}" srcOrd="1" destOrd="0" presId="urn:microsoft.com/office/officeart/2005/8/layout/orgChart1"/>
    <dgm:cxn modelId="{65AE649F-9E92-4F10-BFEA-72B38AB4566F}" type="presParOf" srcId="{CD5184F5-D5F6-46CC-97B3-EBCFD5902623}" destId="{614B6606-92CC-4D97-B498-7B815EFFBAE7}" srcOrd="2" destOrd="0" presId="urn:microsoft.com/office/officeart/2005/8/layout/orgChart1"/>
    <dgm:cxn modelId="{C3B2460E-B2E3-4C39-B45D-3B501FA241C5}" type="presParOf" srcId="{D9FC4B45-3F3E-44FD-BCD4-EE579804DF83}" destId="{6B9BB72C-C16E-4812-A426-8736B0F4D50D}" srcOrd="8" destOrd="0" presId="urn:microsoft.com/office/officeart/2005/8/layout/orgChart1"/>
    <dgm:cxn modelId="{5D04B37E-6289-4203-800D-448CF9F85836}" type="presParOf" srcId="{D9FC4B45-3F3E-44FD-BCD4-EE579804DF83}" destId="{F96F047D-A9FC-4FF5-A8C1-941933C779B4}" srcOrd="9" destOrd="0" presId="urn:microsoft.com/office/officeart/2005/8/layout/orgChart1"/>
    <dgm:cxn modelId="{FBB3870B-6E3A-44E0-A825-4E24606C5CFF}" type="presParOf" srcId="{F96F047D-A9FC-4FF5-A8C1-941933C779B4}" destId="{045801E2-3B02-4A8F-9585-6867B7DD31BC}" srcOrd="0" destOrd="0" presId="urn:microsoft.com/office/officeart/2005/8/layout/orgChart1"/>
    <dgm:cxn modelId="{7F43C251-9074-404D-9452-D279AE99C4EE}" type="presParOf" srcId="{045801E2-3B02-4A8F-9585-6867B7DD31BC}" destId="{EA59485D-2E2F-42CB-B81B-A0E1E3EA3A1C}" srcOrd="0" destOrd="0" presId="urn:microsoft.com/office/officeart/2005/8/layout/orgChart1"/>
    <dgm:cxn modelId="{CE81C28F-E76C-46A7-8A9C-B3BDB84AA920}" type="presParOf" srcId="{045801E2-3B02-4A8F-9585-6867B7DD31BC}" destId="{3C113E1E-FE54-4128-B244-37B8276C710C}" srcOrd="1" destOrd="0" presId="urn:microsoft.com/office/officeart/2005/8/layout/orgChart1"/>
    <dgm:cxn modelId="{6281F9E7-52B3-45D1-9F25-E3029966E5BF}" type="presParOf" srcId="{F96F047D-A9FC-4FF5-A8C1-941933C779B4}" destId="{94918608-EE8D-46B0-BBEE-532A885864C4}" srcOrd="1" destOrd="0" presId="urn:microsoft.com/office/officeart/2005/8/layout/orgChart1"/>
    <dgm:cxn modelId="{E89A503A-8F2A-4506-832E-C27B3EDB9EA0}" type="presParOf" srcId="{F96F047D-A9FC-4FF5-A8C1-941933C779B4}" destId="{0351236A-BFB1-48C2-9E8E-AB3FA5B6820D}" srcOrd="2" destOrd="0" presId="urn:microsoft.com/office/officeart/2005/8/layout/orgChart1"/>
    <dgm:cxn modelId="{E0E2A912-1D31-4E86-8ACD-2ED61C51E6F0}" type="presParOf" srcId="{D9FC4B45-3F3E-44FD-BCD4-EE579804DF83}" destId="{36BF8A7A-9D89-41C0-8B99-0645BE0B5C9B}" srcOrd="10" destOrd="0" presId="urn:microsoft.com/office/officeart/2005/8/layout/orgChart1"/>
    <dgm:cxn modelId="{A6713F23-5549-4BE1-B950-CC2DD5A40C4E}" type="presParOf" srcId="{D9FC4B45-3F3E-44FD-BCD4-EE579804DF83}" destId="{38485F78-C0C3-43BA-9E36-BF58157B13ED}" srcOrd="11" destOrd="0" presId="urn:microsoft.com/office/officeart/2005/8/layout/orgChart1"/>
    <dgm:cxn modelId="{10B12C31-41FF-498A-A63C-3D545E4174FD}" type="presParOf" srcId="{38485F78-C0C3-43BA-9E36-BF58157B13ED}" destId="{7D166BD7-9271-4007-8979-6A6AC379B8BB}" srcOrd="0" destOrd="0" presId="urn:microsoft.com/office/officeart/2005/8/layout/orgChart1"/>
    <dgm:cxn modelId="{9BC8E04F-D6A8-4DFC-AB8E-0017C04DA357}" type="presParOf" srcId="{7D166BD7-9271-4007-8979-6A6AC379B8BB}" destId="{69577400-3728-444D-96E5-E59C84094316}" srcOrd="0" destOrd="0" presId="urn:microsoft.com/office/officeart/2005/8/layout/orgChart1"/>
    <dgm:cxn modelId="{2DBDC43A-C153-47C9-B83C-3014FDA4B49E}" type="presParOf" srcId="{7D166BD7-9271-4007-8979-6A6AC379B8BB}" destId="{BAABFAAE-EC69-4E1F-B78D-D84BCDA0D6AD}" srcOrd="1" destOrd="0" presId="urn:microsoft.com/office/officeart/2005/8/layout/orgChart1"/>
    <dgm:cxn modelId="{D97C6990-EA37-48AB-B408-7D44ABC4D830}" type="presParOf" srcId="{38485F78-C0C3-43BA-9E36-BF58157B13ED}" destId="{BAF3FA39-621A-4DE6-9C1B-81F51A563D85}" srcOrd="1" destOrd="0" presId="urn:microsoft.com/office/officeart/2005/8/layout/orgChart1"/>
    <dgm:cxn modelId="{4F896336-A716-428A-97AA-3BEFF7F094C0}" type="presParOf" srcId="{38485F78-C0C3-43BA-9E36-BF58157B13ED}" destId="{B2F783A7-FEDE-4B91-A083-2D03DD6B5A32}" srcOrd="2" destOrd="0" presId="urn:microsoft.com/office/officeart/2005/8/layout/orgChart1"/>
    <dgm:cxn modelId="{5DBA612C-CAD0-49DF-A697-277764A11DB5}" type="presParOf" srcId="{D9FC4B45-3F3E-44FD-BCD4-EE579804DF83}" destId="{EDD6B248-4CEB-4654-9033-ED2BD107A221}" srcOrd="12" destOrd="0" presId="urn:microsoft.com/office/officeart/2005/8/layout/orgChart1"/>
    <dgm:cxn modelId="{9DE61C0D-873F-4BC8-AB47-B48AE5876537}" type="presParOf" srcId="{D9FC4B45-3F3E-44FD-BCD4-EE579804DF83}" destId="{F59716A7-2858-4185-A535-D6A46C708F35}" srcOrd="13" destOrd="0" presId="urn:microsoft.com/office/officeart/2005/8/layout/orgChart1"/>
    <dgm:cxn modelId="{82C3CF00-5C29-4C58-9AAB-93C79E839B46}" type="presParOf" srcId="{F59716A7-2858-4185-A535-D6A46C708F35}" destId="{3D357C93-C264-4972-9671-30636AA2D4E6}" srcOrd="0" destOrd="0" presId="urn:microsoft.com/office/officeart/2005/8/layout/orgChart1"/>
    <dgm:cxn modelId="{C0323625-3873-4F6B-81A1-091BFD475A1F}" type="presParOf" srcId="{3D357C93-C264-4972-9671-30636AA2D4E6}" destId="{830D38BF-6282-47C5-BAC0-DF00893C467F}" srcOrd="0" destOrd="0" presId="urn:microsoft.com/office/officeart/2005/8/layout/orgChart1"/>
    <dgm:cxn modelId="{95D24510-4B52-4DFC-9F82-D55F7B2CEB4A}" type="presParOf" srcId="{3D357C93-C264-4972-9671-30636AA2D4E6}" destId="{50DD9E39-4F50-40C5-BD65-39D9CA175641}" srcOrd="1" destOrd="0" presId="urn:microsoft.com/office/officeart/2005/8/layout/orgChart1"/>
    <dgm:cxn modelId="{C2B8DE82-E86D-4C0E-BD41-98535F9E2C7E}" type="presParOf" srcId="{F59716A7-2858-4185-A535-D6A46C708F35}" destId="{0CC16348-B4E0-4B13-985D-E52B186059EA}" srcOrd="1" destOrd="0" presId="urn:microsoft.com/office/officeart/2005/8/layout/orgChart1"/>
    <dgm:cxn modelId="{5EEC3D81-DF2F-4095-8F1F-11A67671F7BD}" type="presParOf" srcId="{F59716A7-2858-4185-A535-D6A46C708F35}" destId="{1D324484-253B-48C3-8F38-36D2065AE951}" srcOrd="2" destOrd="0" presId="urn:microsoft.com/office/officeart/2005/8/layout/orgChart1"/>
    <dgm:cxn modelId="{9E28849E-00D3-4D1B-9EA7-E6DB3BA9C953}" type="presParOf" srcId="{D9FC4B45-3F3E-44FD-BCD4-EE579804DF83}" destId="{5FAD3576-45D6-41B4-8CB0-E188125E4354}" srcOrd="14" destOrd="0" presId="urn:microsoft.com/office/officeart/2005/8/layout/orgChart1"/>
    <dgm:cxn modelId="{2164F239-A67B-47B0-8B2F-0A7369EEE56A}" type="presParOf" srcId="{D9FC4B45-3F3E-44FD-BCD4-EE579804DF83}" destId="{FD64AC5D-3B06-4EF8-93BA-4CCDB222F53A}" srcOrd="15" destOrd="0" presId="urn:microsoft.com/office/officeart/2005/8/layout/orgChart1"/>
    <dgm:cxn modelId="{7EB44E85-4DA0-446D-B05F-2F4FEF289777}" type="presParOf" srcId="{FD64AC5D-3B06-4EF8-93BA-4CCDB222F53A}" destId="{DC936B57-C0BC-40EC-9903-C1566FD66FA2}" srcOrd="0" destOrd="0" presId="urn:microsoft.com/office/officeart/2005/8/layout/orgChart1"/>
    <dgm:cxn modelId="{06800ED1-8C49-4CE8-96BE-C9A553890A0D}" type="presParOf" srcId="{DC936B57-C0BC-40EC-9903-C1566FD66FA2}" destId="{FCD4C20C-521F-4545-939A-8A7799913E93}" srcOrd="0" destOrd="0" presId="urn:microsoft.com/office/officeart/2005/8/layout/orgChart1"/>
    <dgm:cxn modelId="{0EE69F20-B1EF-489A-8695-1E7015EF0251}" type="presParOf" srcId="{DC936B57-C0BC-40EC-9903-C1566FD66FA2}" destId="{7095D4F8-1C8A-4F9A-9B63-236944966ED1}" srcOrd="1" destOrd="0" presId="urn:microsoft.com/office/officeart/2005/8/layout/orgChart1"/>
    <dgm:cxn modelId="{9F84726B-6C3C-433B-BE81-E00B08F1D4CF}" type="presParOf" srcId="{FD64AC5D-3B06-4EF8-93BA-4CCDB222F53A}" destId="{314F22F5-9ABF-4039-8D7C-8B5A5E7D7EC7}" srcOrd="1" destOrd="0" presId="urn:microsoft.com/office/officeart/2005/8/layout/orgChart1"/>
    <dgm:cxn modelId="{2D3D1861-6BAA-4EE0-A643-9C5E62EA9A2E}" type="presParOf" srcId="{FD64AC5D-3B06-4EF8-93BA-4CCDB222F53A}" destId="{07DB01D3-0ECB-4E38-AAD6-577396565579}" srcOrd="2" destOrd="0" presId="urn:microsoft.com/office/officeart/2005/8/layout/orgChart1"/>
    <dgm:cxn modelId="{F7D74C0F-16A5-4C44-BB66-FD8CE0499235}" type="presParOf" srcId="{D9FC4B45-3F3E-44FD-BCD4-EE579804DF83}" destId="{C18432C2-F5A3-442A-9977-38AEE04F13DD}" srcOrd="16" destOrd="0" presId="urn:microsoft.com/office/officeart/2005/8/layout/orgChart1"/>
    <dgm:cxn modelId="{98D1290E-CED6-4581-9D19-566F8248B076}" type="presParOf" srcId="{D9FC4B45-3F3E-44FD-BCD4-EE579804DF83}" destId="{6AE34D16-582D-406C-9420-799CC7F5A7AE}" srcOrd="17" destOrd="0" presId="urn:microsoft.com/office/officeart/2005/8/layout/orgChart1"/>
    <dgm:cxn modelId="{D4B46D58-93CB-4ABB-96FA-F07F5B38A7B0}" type="presParOf" srcId="{6AE34D16-582D-406C-9420-799CC7F5A7AE}" destId="{54DDDA25-6982-44A6-A3A4-FD7DD827E08C}" srcOrd="0" destOrd="0" presId="urn:microsoft.com/office/officeart/2005/8/layout/orgChart1"/>
    <dgm:cxn modelId="{DD24A93C-C138-487F-B630-A9C6F2FB734C}" type="presParOf" srcId="{54DDDA25-6982-44A6-A3A4-FD7DD827E08C}" destId="{B831C22F-984D-4917-BB77-DA19C75E8EEC}" srcOrd="0" destOrd="0" presId="urn:microsoft.com/office/officeart/2005/8/layout/orgChart1"/>
    <dgm:cxn modelId="{DAD7D1BA-8E18-4EBF-92B9-F6B7411F89D7}" type="presParOf" srcId="{54DDDA25-6982-44A6-A3A4-FD7DD827E08C}" destId="{8315F59C-535C-41A3-9977-47ED97AB1D59}" srcOrd="1" destOrd="0" presId="urn:microsoft.com/office/officeart/2005/8/layout/orgChart1"/>
    <dgm:cxn modelId="{6D1EE2B2-A599-4DB9-860B-46E3C01E8006}" type="presParOf" srcId="{6AE34D16-582D-406C-9420-799CC7F5A7AE}" destId="{DDD0FE66-9AAF-4CF9-9EE4-075FBC445F44}" srcOrd="1" destOrd="0" presId="urn:microsoft.com/office/officeart/2005/8/layout/orgChart1"/>
    <dgm:cxn modelId="{45B8C186-8A37-4E09-87DE-DEB042E5D56B}" type="presParOf" srcId="{6AE34D16-582D-406C-9420-799CC7F5A7AE}" destId="{46289894-ECFE-4885-B42C-38D755361C48}" srcOrd="2" destOrd="0" presId="urn:microsoft.com/office/officeart/2005/8/layout/orgChart1"/>
    <dgm:cxn modelId="{23977C05-EF3C-4445-8FBB-E660B9F86C86}" type="presParOf" srcId="{D9FC4B45-3F3E-44FD-BCD4-EE579804DF83}" destId="{23EDB892-9EB4-4D68-BBE5-B200E79A66A9}" srcOrd="18" destOrd="0" presId="urn:microsoft.com/office/officeart/2005/8/layout/orgChart1"/>
    <dgm:cxn modelId="{E478BA1F-58A4-43FB-BB35-C073EC9F27AC}" type="presParOf" srcId="{D9FC4B45-3F3E-44FD-BCD4-EE579804DF83}" destId="{3018BE9B-499A-46FA-B678-0395BD203C40}" srcOrd="19" destOrd="0" presId="urn:microsoft.com/office/officeart/2005/8/layout/orgChart1"/>
    <dgm:cxn modelId="{D1056CFE-B0D5-454A-B115-C0979BB017D3}" type="presParOf" srcId="{3018BE9B-499A-46FA-B678-0395BD203C40}" destId="{77BAEB05-B0AE-43B7-8916-5ABA409AE86C}" srcOrd="0" destOrd="0" presId="urn:microsoft.com/office/officeart/2005/8/layout/orgChart1"/>
    <dgm:cxn modelId="{797C1626-7EC4-42A4-9742-BEA9721656E3}" type="presParOf" srcId="{77BAEB05-B0AE-43B7-8916-5ABA409AE86C}" destId="{61FA1666-3CB0-4FB2-8C4B-E313F9D14383}" srcOrd="0" destOrd="0" presId="urn:microsoft.com/office/officeart/2005/8/layout/orgChart1"/>
    <dgm:cxn modelId="{4EC6CB06-721A-4F80-8223-736BDED9B900}" type="presParOf" srcId="{77BAEB05-B0AE-43B7-8916-5ABA409AE86C}" destId="{14794923-454C-4188-8CA2-A3764EA77813}" srcOrd="1" destOrd="0" presId="urn:microsoft.com/office/officeart/2005/8/layout/orgChart1"/>
    <dgm:cxn modelId="{5C7F05E3-1766-4AB7-815F-81800D89ECA8}" type="presParOf" srcId="{3018BE9B-499A-46FA-B678-0395BD203C40}" destId="{28C78716-BDA8-44DC-A378-37545D8133BD}" srcOrd="1" destOrd="0" presId="urn:microsoft.com/office/officeart/2005/8/layout/orgChart1"/>
    <dgm:cxn modelId="{3FC2DF34-850C-481B-8D2D-677209D8E08B}" type="presParOf" srcId="{3018BE9B-499A-46FA-B678-0395BD203C40}" destId="{4F154440-422F-4F9E-AF96-A0ACF29A387B}" srcOrd="2" destOrd="0" presId="urn:microsoft.com/office/officeart/2005/8/layout/orgChart1"/>
    <dgm:cxn modelId="{FCCA7106-C093-4EE5-853E-13D4112E43C0}" type="presParOf" srcId="{9737D7A7-63F3-48BF-9933-04C5C8E1822C}" destId="{03DD41D6-FCC6-4D83-AEDC-06B212AA9FF6}" srcOrd="2" destOrd="0" presId="urn:microsoft.com/office/officeart/2005/8/layout/orgChart1"/>
    <dgm:cxn modelId="{5F080CFB-ABD8-41FB-B959-35F16A972739}" type="presParOf" srcId="{6ADA6EB7-E841-4017-AB6F-9758EC075640}" destId="{748B4E46-BCEA-4B90-9F45-8240389CE2F0}" srcOrd="4" destOrd="0" presId="urn:microsoft.com/office/officeart/2005/8/layout/orgChart1"/>
    <dgm:cxn modelId="{E96C3CD6-E49F-4B2A-943C-FF6F778D8FE2}" type="presParOf" srcId="{6ADA6EB7-E841-4017-AB6F-9758EC075640}" destId="{B68D8F3A-DC82-4FFE-B512-7099E3AEA713}" srcOrd="5" destOrd="0" presId="urn:microsoft.com/office/officeart/2005/8/layout/orgChart1"/>
    <dgm:cxn modelId="{947B2AAD-D619-4FA5-9D6E-36687394C366}" type="presParOf" srcId="{B68D8F3A-DC82-4FFE-B512-7099E3AEA713}" destId="{5BC34B2E-9029-44CF-B05B-F90E38971D23}" srcOrd="0" destOrd="0" presId="urn:microsoft.com/office/officeart/2005/8/layout/orgChart1"/>
    <dgm:cxn modelId="{888C6050-EB93-4520-ACA1-836E119B7349}" type="presParOf" srcId="{5BC34B2E-9029-44CF-B05B-F90E38971D23}" destId="{A1A7E265-6B33-4908-BF5C-D6CD576CE0F9}" srcOrd="0" destOrd="0" presId="urn:microsoft.com/office/officeart/2005/8/layout/orgChart1"/>
    <dgm:cxn modelId="{CC6EDED1-67CB-4B09-8BBD-F96BD44CDAEF}" type="presParOf" srcId="{5BC34B2E-9029-44CF-B05B-F90E38971D23}" destId="{439D2B84-4BEE-4138-999D-519850687B31}" srcOrd="1" destOrd="0" presId="urn:microsoft.com/office/officeart/2005/8/layout/orgChart1"/>
    <dgm:cxn modelId="{FBBEB089-1E79-456B-8BCB-D66AFA8B89F3}" type="presParOf" srcId="{B68D8F3A-DC82-4FFE-B512-7099E3AEA713}" destId="{D7D25BC5-EA56-4E39-91BA-6C064172B7DA}" srcOrd="1" destOrd="0" presId="urn:microsoft.com/office/officeart/2005/8/layout/orgChart1"/>
    <dgm:cxn modelId="{9FAF23F1-66F8-43CE-9A75-93E5C189C44B}" type="presParOf" srcId="{D7D25BC5-EA56-4E39-91BA-6C064172B7DA}" destId="{CA3AC0F8-D2DD-45A4-986D-8A7CA3FCA483}" srcOrd="0" destOrd="0" presId="urn:microsoft.com/office/officeart/2005/8/layout/orgChart1"/>
    <dgm:cxn modelId="{121E6352-7AB9-4276-9B4D-AC82D486FF99}" type="presParOf" srcId="{D7D25BC5-EA56-4E39-91BA-6C064172B7DA}" destId="{D99DBDFB-ED52-48F3-8D3E-271C50D2B79E}" srcOrd="1" destOrd="0" presId="urn:microsoft.com/office/officeart/2005/8/layout/orgChart1"/>
    <dgm:cxn modelId="{5EC5C291-03CC-4B00-9BDE-010494051E03}" type="presParOf" srcId="{D99DBDFB-ED52-48F3-8D3E-271C50D2B79E}" destId="{9B763932-5A53-4A74-B004-D003C43E18EE}" srcOrd="0" destOrd="0" presId="urn:microsoft.com/office/officeart/2005/8/layout/orgChart1"/>
    <dgm:cxn modelId="{2CF23B2D-ECA5-44EA-AF82-42F27A8EB9D3}" type="presParOf" srcId="{9B763932-5A53-4A74-B004-D003C43E18EE}" destId="{889AFA51-C7BD-4939-911F-CB1271EB2AF8}" srcOrd="0" destOrd="0" presId="urn:microsoft.com/office/officeart/2005/8/layout/orgChart1"/>
    <dgm:cxn modelId="{529D9CFE-CE15-4C1E-B0B1-89F7D0C36235}" type="presParOf" srcId="{9B763932-5A53-4A74-B004-D003C43E18EE}" destId="{A98729FF-77F6-46B8-967E-2555C25F663E}" srcOrd="1" destOrd="0" presId="urn:microsoft.com/office/officeart/2005/8/layout/orgChart1"/>
    <dgm:cxn modelId="{ADD32976-81FD-45F9-AC0E-FC6557483E60}" type="presParOf" srcId="{D99DBDFB-ED52-48F3-8D3E-271C50D2B79E}" destId="{F7EF3153-14EB-492F-AE95-D320C0C069FC}" srcOrd="1" destOrd="0" presId="urn:microsoft.com/office/officeart/2005/8/layout/orgChart1"/>
    <dgm:cxn modelId="{BF5C7E19-C54A-4E47-B4DF-31B950D455EA}" type="presParOf" srcId="{D99DBDFB-ED52-48F3-8D3E-271C50D2B79E}" destId="{A35E699F-E00D-4206-A588-89F62AAE38EC}" srcOrd="2" destOrd="0" presId="urn:microsoft.com/office/officeart/2005/8/layout/orgChart1"/>
    <dgm:cxn modelId="{575645CB-CF35-4DA4-8BB7-0FAC61B212EB}" type="presParOf" srcId="{D7D25BC5-EA56-4E39-91BA-6C064172B7DA}" destId="{24EA762B-4AE4-49BB-ACA9-F208C93443F3}" srcOrd="2" destOrd="0" presId="urn:microsoft.com/office/officeart/2005/8/layout/orgChart1"/>
    <dgm:cxn modelId="{A99945B9-496C-4130-AF58-2AD1E4F0F859}" type="presParOf" srcId="{D7D25BC5-EA56-4E39-91BA-6C064172B7DA}" destId="{743E9B0D-08DF-427F-823F-CF3DE19E2DA6}" srcOrd="3" destOrd="0" presId="urn:microsoft.com/office/officeart/2005/8/layout/orgChart1"/>
    <dgm:cxn modelId="{412B8CCD-6D1F-466A-81DB-1F909447217D}" type="presParOf" srcId="{743E9B0D-08DF-427F-823F-CF3DE19E2DA6}" destId="{3099D2FC-CB3B-40A5-B474-CD9965330136}" srcOrd="0" destOrd="0" presId="urn:microsoft.com/office/officeart/2005/8/layout/orgChart1"/>
    <dgm:cxn modelId="{E18F5734-7164-4CA9-A7E6-6C1B2B562EA2}" type="presParOf" srcId="{3099D2FC-CB3B-40A5-B474-CD9965330136}" destId="{5566157D-149C-460F-97F5-CE2E5214442B}" srcOrd="0" destOrd="0" presId="urn:microsoft.com/office/officeart/2005/8/layout/orgChart1"/>
    <dgm:cxn modelId="{3D6C26BC-2F0B-4BC7-86F2-D55405E3E6DC}" type="presParOf" srcId="{3099D2FC-CB3B-40A5-B474-CD9965330136}" destId="{1278BCC9-713A-42EA-B5C7-590514CE77EA}" srcOrd="1" destOrd="0" presId="urn:microsoft.com/office/officeart/2005/8/layout/orgChart1"/>
    <dgm:cxn modelId="{B1A4CB28-675E-4212-8D24-9486D70ECFB8}" type="presParOf" srcId="{743E9B0D-08DF-427F-823F-CF3DE19E2DA6}" destId="{A81B85AC-D1FE-4D14-88FC-5D972597779D}" srcOrd="1" destOrd="0" presId="urn:microsoft.com/office/officeart/2005/8/layout/orgChart1"/>
    <dgm:cxn modelId="{19F66CFB-148D-4086-8A58-5CBEA75B83DE}" type="presParOf" srcId="{743E9B0D-08DF-427F-823F-CF3DE19E2DA6}" destId="{316C3BD7-4B8D-418B-8A23-CB0C7576EEFB}" srcOrd="2" destOrd="0" presId="urn:microsoft.com/office/officeart/2005/8/layout/orgChart1"/>
    <dgm:cxn modelId="{3ECB4E92-676E-4515-875F-010936CED07D}" type="presParOf" srcId="{D7D25BC5-EA56-4E39-91BA-6C064172B7DA}" destId="{5EE41A7C-9A60-4601-9E7F-353EBE225BC6}" srcOrd="4" destOrd="0" presId="urn:microsoft.com/office/officeart/2005/8/layout/orgChart1"/>
    <dgm:cxn modelId="{EA9B4D9A-23EC-4BDF-BE5B-E69900C85BD8}" type="presParOf" srcId="{D7D25BC5-EA56-4E39-91BA-6C064172B7DA}" destId="{3808C761-5149-4948-9D45-53A8311C1558}" srcOrd="5" destOrd="0" presId="urn:microsoft.com/office/officeart/2005/8/layout/orgChart1"/>
    <dgm:cxn modelId="{0C7F65A6-4A10-4893-B04D-FD6F3F0E727C}" type="presParOf" srcId="{3808C761-5149-4948-9D45-53A8311C1558}" destId="{FEAB8C43-AD8A-416B-AFC7-40621C30E60F}" srcOrd="0" destOrd="0" presId="urn:microsoft.com/office/officeart/2005/8/layout/orgChart1"/>
    <dgm:cxn modelId="{C4F609F4-7918-4B9E-A75D-AD33CA04AC84}" type="presParOf" srcId="{FEAB8C43-AD8A-416B-AFC7-40621C30E60F}" destId="{84973679-6F82-4ED4-A935-CA4A0FD0F148}" srcOrd="0" destOrd="0" presId="urn:microsoft.com/office/officeart/2005/8/layout/orgChart1"/>
    <dgm:cxn modelId="{ED57225E-8FE3-4451-BEF6-E021C4E67DB1}" type="presParOf" srcId="{FEAB8C43-AD8A-416B-AFC7-40621C30E60F}" destId="{40F4D01A-1074-4751-950A-F4647C147244}" srcOrd="1" destOrd="0" presId="urn:microsoft.com/office/officeart/2005/8/layout/orgChart1"/>
    <dgm:cxn modelId="{D90929FA-85B9-4DE6-8258-349F82A29947}" type="presParOf" srcId="{3808C761-5149-4948-9D45-53A8311C1558}" destId="{27DF98D2-62E1-417C-82E4-D2FE02A4F5FE}" srcOrd="1" destOrd="0" presId="urn:microsoft.com/office/officeart/2005/8/layout/orgChart1"/>
    <dgm:cxn modelId="{5E390FD7-41F2-49BE-8E09-CE02372E58ED}" type="presParOf" srcId="{3808C761-5149-4948-9D45-53A8311C1558}" destId="{89A855E3-C00B-499B-87FC-C1CB1ECF0F4E}" srcOrd="2" destOrd="0" presId="urn:microsoft.com/office/officeart/2005/8/layout/orgChart1"/>
    <dgm:cxn modelId="{627E99D1-9BE7-43BB-A74C-44A143293EA3}" type="presParOf" srcId="{D7D25BC5-EA56-4E39-91BA-6C064172B7DA}" destId="{FC2A0575-63FD-4437-9846-05FE755CCA4D}" srcOrd="6" destOrd="0" presId="urn:microsoft.com/office/officeart/2005/8/layout/orgChart1"/>
    <dgm:cxn modelId="{42A439C7-28FC-4B4E-BE1F-CFCEECD901FD}" type="presParOf" srcId="{D7D25BC5-EA56-4E39-91BA-6C064172B7DA}" destId="{988B3699-602D-4992-9E3E-924521844B38}" srcOrd="7" destOrd="0" presId="urn:microsoft.com/office/officeart/2005/8/layout/orgChart1"/>
    <dgm:cxn modelId="{66257626-D1B7-4C4D-8C71-3B87FB59546C}" type="presParOf" srcId="{988B3699-602D-4992-9E3E-924521844B38}" destId="{8F8D8B90-26CA-4EA2-A128-D53D16BD5520}" srcOrd="0" destOrd="0" presId="urn:microsoft.com/office/officeart/2005/8/layout/orgChart1"/>
    <dgm:cxn modelId="{0C023D65-0E47-4A6B-9017-ACE9B9FBAEFC}" type="presParOf" srcId="{8F8D8B90-26CA-4EA2-A128-D53D16BD5520}" destId="{9185C20B-3F53-4B76-A66A-573CD6C3DBE0}" srcOrd="0" destOrd="0" presId="urn:microsoft.com/office/officeart/2005/8/layout/orgChart1"/>
    <dgm:cxn modelId="{05199CEF-F5DB-4D1B-91DF-B55BAE4C84FE}" type="presParOf" srcId="{8F8D8B90-26CA-4EA2-A128-D53D16BD5520}" destId="{F7DFF23A-F7C5-477C-B4A9-B17D28FAD8AD}" srcOrd="1" destOrd="0" presId="urn:microsoft.com/office/officeart/2005/8/layout/orgChart1"/>
    <dgm:cxn modelId="{474EAAA2-60AF-4C4C-A2B6-10845CCD2691}" type="presParOf" srcId="{988B3699-602D-4992-9E3E-924521844B38}" destId="{7527F933-E877-4C7E-A425-6522C0EA79DC}" srcOrd="1" destOrd="0" presId="urn:microsoft.com/office/officeart/2005/8/layout/orgChart1"/>
    <dgm:cxn modelId="{6D04884F-95AC-455B-95A0-1FE4A31F68EB}" type="presParOf" srcId="{988B3699-602D-4992-9E3E-924521844B38}" destId="{47E34A57-57F2-49DC-852B-7FFD59F11D0A}" srcOrd="2" destOrd="0" presId="urn:microsoft.com/office/officeart/2005/8/layout/orgChart1"/>
    <dgm:cxn modelId="{DBEE4989-9D93-4333-ACCE-F111F0F799EA}" type="presParOf" srcId="{B68D8F3A-DC82-4FFE-B512-7099E3AEA713}" destId="{93C87654-F184-4CA5-85BD-B0DA8E3B6D6E}" srcOrd="2" destOrd="0" presId="urn:microsoft.com/office/officeart/2005/8/layout/orgChart1"/>
    <dgm:cxn modelId="{8FD0F552-F604-4353-BB0F-46F775233D1B}" type="presParOf" srcId="{6ADA6EB7-E841-4017-AB6F-9758EC075640}" destId="{52E9BC89-FDF8-438D-A60C-DC48E0884547}" srcOrd="6" destOrd="0" presId="urn:microsoft.com/office/officeart/2005/8/layout/orgChart1"/>
    <dgm:cxn modelId="{7F5CA31D-4672-4E69-B040-7B8F6D9CB9B0}" type="presParOf" srcId="{6ADA6EB7-E841-4017-AB6F-9758EC075640}" destId="{FF68940A-B349-444C-AA28-D3E810C7133D}" srcOrd="7" destOrd="0" presId="urn:microsoft.com/office/officeart/2005/8/layout/orgChart1"/>
    <dgm:cxn modelId="{A6B8A380-7A06-43E7-B109-6D99904EAFEE}" type="presParOf" srcId="{FF68940A-B349-444C-AA28-D3E810C7133D}" destId="{6574B68E-08D6-4445-A396-E3011C6F1F1E}" srcOrd="0" destOrd="0" presId="urn:microsoft.com/office/officeart/2005/8/layout/orgChart1"/>
    <dgm:cxn modelId="{E1814B07-DF74-4758-8F7E-4762CF4478BA}" type="presParOf" srcId="{6574B68E-08D6-4445-A396-E3011C6F1F1E}" destId="{2034BB97-76EC-478B-8B14-7267569BC1AA}" srcOrd="0" destOrd="0" presId="urn:microsoft.com/office/officeart/2005/8/layout/orgChart1"/>
    <dgm:cxn modelId="{2355C3A4-8885-4435-88D6-36BD0D610BC4}" type="presParOf" srcId="{6574B68E-08D6-4445-A396-E3011C6F1F1E}" destId="{8A30A787-B8DD-468A-B6C4-47C9516B39E9}" srcOrd="1" destOrd="0" presId="urn:microsoft.com/office/officeart/2005/8/layout/orgChart1"/>
    <dgm:cxn modelId="{0228044B-A8F4-47EE-9584-616A6C99CF84}" type="presParOf" srcId="{FF68940A-B349-444C-AA28-D3E810C7133D}" destId="{41BF1B5E-8FD9-49C9-A221-D6ACE8B91BB2}" srcOrd="1" destOrd="0" presId="urn:microsoft.com/office/officeart/2005/8/layout/orgChart1"/>
    <dgm:cxn modelId="{F5F3297B-5176-4C24-A1CB-1C464D5ED0C5}" type="presParOf" srcId="{41BF1B5E-8FD9-49C9-A221-D6ACE8B91BB2}" destId="{0964CB70-41C0-4F29-B83E-AE1B76280125}" srcOrd="0" destOrd="0" presId="urn:microsoft.com/office/officeart/2005/8/layout/orgChart1"/>
    <dgm:cxn modelId="{19EDB81B-53EE-4F55-A8F0-EBE0589F4748}" type="presParOf" srcId="{41BF1B5E-8FD9-49C9-A221-D6ACE8B91BB2}" destId="{263DF04E-9489-43B9-9919-6D4BBFA8FEFA}" srcOrd="1" destOrd="0" presId="urn:microsoft.com/office/officeart/2005/8/layout/orgChart1"/>
    <dgm:cxn modelId="{4F129770-6A18-457E-B412-782E3FFB7F02}" type="presParOf" srcId="{263DF04E-9489-43B9-9919-6D4BBFA8FEFA}" destId="{E3F323DD-D680-49A4-969C-D5BAF821034F}" srcOrd="0" destOrd="0" presId="urn:microsoft.com/office/officeart/2005/8/layout/orgChart1"/>
    <dgm:cxn modelId="{AF05ECCE-130F-4EA5-97B2-776BABA90240}" type="presParOf" srcId="{E3F323DD-D680-49A4-969C-D5BAF821034F}" destId="{6525961F-8FBD-4859-8DE6-CC029265436B}" srcOrd="0" destOrd="0" presId="urn:microsoft.com/office/officeart/2005/8/layout/orgChart1"/>
    <dgm:cxn modelId="{2D6E6DEF-195A-412A-93D2-C589F5B837A2}" type="presParOf" srcId="{E3F323DD-D680-49A4-969C-D5BAF821034F}" destId="{74A4E3A4-EC91-46B0-B939-76D9B05E6BDA}" srcOrd="1" destOrd="0" presId="urn:microsoft.com/office/officeart/2005/8/layout/orgChart1"/>
    <dgm:cxn modelId="{83B0F76D-9A43-478A-9D77-E864E985254E}" type="presParOf" srcId="{263DF04E-9489-43B9-9919-6D4BBFA8FEFA}" destId="{C3D653DD-ECF6-4E60-B355-4686266D6C59}" srcOrd="1" destOrd="0" presId="urn:microsoft.com/office/officeart/2005/8/layout/orgChart1"/>
    <dgm:cxn modelId="{274CB6E5-281A-48A5-8F5C-E85F130A3FEB}" type="presParOf" srcId="{263DF04E-9489-43B9-9919-6D4BBFA8FEFA}" destId="{8FB834D5-02D4-4988-BD91-B25BA84DF879}" srcOrd="2" destOrd="0" presId="urn:microsoft.com/office/officeart/2005/8/layout/orgChart1"/>
    <dgm:cxn modelId="{BFEAFF44-3F2A-476A-A63E-03E39447DC13}" type="presParOf" srcId="{41BF1B5E-8FD9-49C9-A221-D6ACE8B91BB2}" destId="{3B1825C6-1AEF-462F-A1CD-79B8796D71BF}" srcOrd="2" destOrd="0" presId="urn:microsoft.com/office/officeart/2005/8/layout/orgChart1"/>
    <dgm:cxn modelId="{BEFB4891-AFCD-4914-B3A9-5E38333675B8}" type="presParOf" srcId="{41BF1B5E-8FD9-49C9-A221-D6ACE8B91BB2}" destId="{1F8D0472-FD32-4DED-B15C-7E970B2412C0}" srcOrd="3" destOrd="0" presId="urn:microsoft.com/office/officeart/2005/8/layout/orgChart1"/>
    <dgm:cxn modelId="{1B232016-47BF-4D53-ABD0-9225ADBD956B}" type="presParOf" srcId="{1F8D0472-FD32-4DED-B15C-7E970B2412C0}" destId="{9DEDC8FA-ED3E-48E4-AB8D-137BF79A65A7}" srcOrd="0" destOrd="0" presId="urn:microsoft.com/office/officeart/2005/8/layout/orgChart1"/>
    <dgm:cxn modelId="{C83D5962-3EA8-47F7-8898-B1EB619B9B01}" type="presParOf" srcId="{9DEDC8FA-ED3E-48E4-AB8D-137BF79A65A7}" destId="{78EE5F20-2D72-4F04-BE3F-8283CA4EB390}" srcOrd="0" destOrd="0" presId="urn:microsoft.com/office/officeart/2005/8/layout/orgChart1"/>
    <dgm:cxn modelId="{43D7DA7A-73E8-4323-AD0B-29707A2D1BD5}" type="presParOf" srcId="{9DEDC8FA-ED3E-48E4-AB8D-137BF79A65A7}" destId="{AF9B3472-43A8-400D-9CD2-962F2F9B4648}" srcOrd="1" destOrd="0" presId="urn:microsoft.com/office/officeart/2005/8/layout/orgChart1"/>
    <dgm:cxn modelId="{A2BE4B3D-E63F-4CFB-B46A-FF7DF3A145DC}" type="presParOf" srcId="{1F8D0472-FD32-4DED-B15C-7E970B2412C0}" destId="{94FAFAF2-B215-4FD2-AE42-95E99BABD887}" srcOrd="1" destOrd="0" presId="urn:microsoft.com/office/officeart/2005/8/layout/orgChart1"/>
    <dgm:cxn modelId="{4CB78D2E-2A13-457D-807B-7F2582A86531}" type="presParOf" srcId="{1F8D0472-FD32-4DED-B15C-7E970B2412C0}" destId="{71E9BBD6-E89A-40A3-8262-42160D86FB87}" srcOrd="2" destOrd="0" presId="urn:microsoft.com/office/officeart/2005/8/layout/orgChart1"/>
    <dgm:cxn modelId="{99D287B1-D8A2-4A74-93E7-0CC670299949}" type="presParOf" srcId="{41BF1B5E-8FD9-49C9-A221-D6ACE8B91BB2}" destId="{4C665A08-AC56-45D8-8D87-B1C7BBA58F7E}" srcOrd="4" destOrd="0" presId="urn:microsoft.com/office/officeart/2005/8/layout/orgChart1"/>
    <dgm:cxn modelId="{5D56A537-0BBC-4030-A3C4-F0DEEF15A8DA}" type="presParOf" srcId="{41BF1B5E-8FD9-49C9-A221-D6ACE8B91BB2}" destId="{82262C01-9B44-43CF-8FB1-7BB5BEE6F4FA}" srcOrd="5" destOrd="0" presId="urn:microsoft.com/office/officeart/2005/8/layout/orgChart1"/>
    <dgm:cxn modelId="{C3C89337-AFB6-4EB8-A842-30A5681250E3}" type="presParOf" srcId="{82262C01-9B44-43CF-8FB1-7BB5BEE6F4FA}" destId="{C7A3390F-3E75-4B07-AF4B-15926CB03FCA}" srcOrd="0" destOrd="0" presId="urn:microsoft.com/office/officeart/2005/8/layout/orgChart1"/>
    <dgm:cxn modelId="{7DAA7DF4-24A0-46F1-9D99-7F4DCC3EFCDA}" type="presParOf" srcId="{C7A3390F-3E75-4B07-AF4B-15926CB03FCA}" destId="{C2E3C8C2-963F-46A6-A733-D84654932C5D}" srcOrd="0" destOrd="0" presId="urn:microsoft.com/office/officeart/2005/8/layout/orgChart1"/>
    <dgm:cxn modelId="{14676F86-F9FF-4069-8EC7-71E212DEDC95}" type="presParOf" srcId="{C7A3390F-3E75-4B07-AF4B-15926CB03FCA}" destId="{77C70671-18DE-43E8-BF2F-71650C01E492}" srcOrd="1" destOrd="0" presId="urn:microsoft.com/office/officeart/2005/8/layout/orgChart1"/>
    <dgm:cxn modelId="{73300DEF-4FEA-4882-8CDE-125C10A08C75}" type="presParOf" srcId="{82262C01-9B44-43CF-8FB1-7BB5BEE6F4FA}" destId="{4CDCC8AD-A25D-4C3B-8942-D1A0FD71140E}" srcOrd="1" destOrd="0" presId="urn:microsoft.com/office/officeart/2005/8/layout/orgChart1"/>
    <dgm:cxn modelId="{DF6311C2-AE20-417B-8A25-D17603CF49DA}" type="presParOf" srcId="{82262C01-9B44-43CF-8FB1-7BB5BEE6F4FA}" destId="{88CAC4A9-BC6A-438D-BA4D-2EE944A0E38F}" srcOrd="2" destOrd="0" presId="urn:microsoft.com/office/officeart/2005/8/layout/orgChart1"/>
    <dgm:cxn modelId="{2D0E2847-CEAC-49A6-B51D-755E06F48953}" type="presParOf" srcId="{41BF1B5E-8FD9-49C9-A221-D6ACE8B91BB2}" destId="{A60D6A16-F6F3-469C-998A-AD9746314B50}" srcOrd="6" destOrd="0" presId="urn:microsoft.com/office/officeart/2005/8/layout/orgChart1"/>
    <dgm:cxn modelId="{A536C745-993F-4F19-8EBF-14A6B3964987}" type="presParOf" srcId="{41BF1B5E-8FD9-49C9-A221-D6ACE8B91BB2}" destId="{4441AEDA-4626-4FDD-AEB8-482A7E8505F0}" srcOrd="7" destOrd="0" presId="urn:microsoft.com/office/officeart/2005/8/layout/orgChart1"/>
    <dgm:cxn modelId="{2E23AF17-D0F7-49F0-B159-2C46DC1757F4}" type="presParOf" srcId="{4441AEDA-4626-4FDD-AEB8-482A7E8505F0}" destId="{90AF87E6-E15C-48DE-B534-41D432C2A4EB}" srcOrd="0" destOrd="0" presId="urn:microsoft.com/office/officeart/2005/8/layout/orgChart1"/>
    <dgm:cxn modelId="{B915A81B-AE0C-4ADF-A605-6A1860184142}" type="presParOf" srcId="{90AF87E6-E15C-48DE-B534-41D432C2A4EB}" destId="{B12AF6D6-EC2F-4B2B-992C-8D08E7129CD6}" srcOrd="0" destOrd="0" presId="urn:microsoft.com/office/officeart/2005/8/layout/orgChart1"/>
    <dgm:cxn modelId="{C45F2492-8FBD-432D-BEBE-18BF0B2C9438}" type="presParOf" srcId="{90AF87E6-E15C-48DE-B534-41D432C2A4EB}" destId="{35745B26-F070-41AC-9DB6-D2575B1469B0}" srcOrd="1" destOrd="0" presId="urn:microsoft.com/office/officeart/2005/8/layout/orgChart1"/>
    <dgm:cxn modelId="{E4AE4E10-08F1-4BAF-A572-C8D94BDE65C1}" type="presParOf" srcId="{4441AEDA-4626-4FDD-AEB8-482A7E8505F0}" destId="{C2C426F3-897A-41DF-9FD6-5BE1C57312E0}" srcOrd="1" destOrd="0" presId="urn:microsoft.com/office/officeart/2005/8/layout/orgChart1"/>
    <dgm:cxn modelId="{EF0817C0-50C4-4282-9369-0262EC47EB83}" type="presParOf" srcId="{4441AEDA-4626-4FDD-AEB8-482A7E8505F0}" destId="{0BEBC681-498A-4F39-9A2E-C95C6088EB34}" srcOrd="2" destOrd="0" presId="urn:microsoft.com/office/officeart/2005/8/layout/orgChart1"/>
    <dgm:cxn modelId="{74518008-A4B1-46CF-8EA4-9486FA2FF3F6}" type="presParOf" srcId="{41BF1B5E-8FD9-49C9-A221-D6ACE8B91BB2}" destId="{33F05970-CE5A-4B8F-B2ED-821CE72425D7}" srcOrd="8" destOrd="0" presId="urn:microsoft.com/office/officeart/2005/8/layout/orgChart1"/>
    <dgm:cxn modelId="{8A6563C8-2680-4535-991F-B2C5129E05E2}" type="presParOf" srcId="{41BF1B5E-8FD9-49C9-A221-D6ACE8B91BB2}" destId="{750B74F5-7E79-432C-B0C5-A04C45276A2A}" srcOrd="9" destOrd="0" presId="urn:microsoft.com/office/officeart/2005/8/layout/orgChart1"/>
    <dgm:cxn modelId="{C08DE117-2091-40EF-A868-5E232630D826}" type="presParOf" srcId="{750B74F5-7E79-432C-B0C5-A04C45276A2A}" destId="{5794658F-6AE0-446D-9AB2-1BF0383CDC68}" srcOrd="0" destOrd="0" presId="urn:microsoft.com/office/officeart/2005/8/layout/orgChart1"/>
    <dgm:cxn modelId="{862342C3-F62F-4075-9D2E-337EBD3C5CF6}" type="presParOf" srcId="{5794658F-6AE0-446D-9AB2-1BF0383CDC68}" destId="{66F06CE1-3BB0-4A85-8D70-A149B82E3BB3}" srcOrd="0" destOrd="0" presId="urn:microsoft.com/office/officeart/2005/8/layout/orgChart1"/>
    <dgm:cxn modelId="{F77339C8-9471-4B7F-A3D2-CD2153F1C773}" type="presParOf" srcId="{5794658F-6AE0-446D-9AB2-1BF0383CDC68}" destId="{AC80687D-CE89-4BFB-A0CD-895A4C091F36}" srcOrd="1" destOrd="0" presId="urn:microsoft.com/office/officeart/2005/8/layout/orgChart1"/>
    <dgm:cxn modelId="{82C48512-9063-4DC3-9042-FF1D91A50200}" type="presParOf" srcId="{750B74F5-7E79-432C-B0C5-A04C45276A2A}" destId="{C1C6460D-BBC0-4C5A-948B-BA1CAF8F431F}" srcOrd="1" destOrd="0" presId="urn:microsoft.com/office/officeart/2005/8/layout/orgChart1"/>
    <dgm:cxn modelId="{E35E1C03-A0A3-4BC5-9E70-C5A16D4F3BDD}" type="presParOf" srcId="{750B74F5-7E79-432C-B0C5-A04C45276A2A}" destId="{2A7DEF8A-AA33-467C-ACC5-25E463A8AC02}" srcOrd="2" destOrd="0" presId="urn:microsoft.com/office/officeart/2005/8/layout/orgChart1"/>
    <dgm:cxn modelId="{498EF0D3-0942-4F98-926E-1C4B6554E33B}" type="presParOf" srcId="{41BF1B5E-8FD9-49C9-A221-D6ACE8B91BB2}" destId="{EE5F5FC3-2FC6-4461-ABAA-F66D65415C6E}" srcOrd="10" destOrd="0" presId="urn:microsoft.com/office/officeart/2005/8/layout/orgChart1"/>
    <dgm:cxn modelId="{A3781C83-D8D3-41A8-BEAD-6104304F4D32}" type="presParOf" srcId="{41BF1B5E-8FD9-49C9-A221-D6ACE8B91BB2}" destId="{B8B24061-FF3D-4B2F-9205-9859AA45EE72}" srcOrd="11" destOrd="0" presId="urn:microsoft.com/office/officeart/2005/8/layout/orgChart1"/>
    <dgm:cxn modelId="{49235AEE-7290-4F15-9A74-A808485F299C}" type="presParOf" srcId="{B8B24061-FF3D-4B2F-9205-9859AA45EE72}" destId="{429910CB-8F46-4C1D-B088-A8348BDCFA4E}" srcOrd="0" destOrd="0" presId="urn:microsoft.com/office/officeart/2005/8/layout/orgChart1"/>
    <dgm:cxn modelId="{9EBB76CB-A774-4520-ACC9-1EFE16235EE2}" type="presParOf" srcId="{429910CB-8F46-4C1D-B088-A8348BDCFA4E}" destId="{FDBEDC48-7610-4008-971F-97F33921F3AB}" srcOrd="0" destOrd="0" presId="urn:microsoft.com/office/officeart/2005/8/layout/orgChart1"/>
    <dgm:cxn modelId="{4F7651D7-CF77-4263-99DF-0C78C6957191}" type="presParOf" srcId="{429910CB-8F46-4C1D-B088-A8348BDCFA4E}" destId="{8FA4DC7A-1F32-4EBD-B2D2-2B337761960E}" srcOrd="1" destOrd="0" presId="urn:microsoft.com/office/officeart/2005/8/layout/orgChart1"/>
    <dgm:cxn modelId="{3025B6A9-33B7-4622-BCBD-0B471CE0110A}" type="presParOf" srcId="{B8B24061-FF3D-4B2F-9205-9859AA45EE72}" destId="{096C45DE-ADFA-4070-A08E-77D21DA69EC9}" srcOrd="1" destOrd="0" presId="urn:microsoft.com/office/officeart/2005/8/layout/orgChart1"/>
    <dgm:cxn modelId="{9466AE4A-8253-43C5-ABF1-5FB3C8358137}" type="presParOf" srcId="{B8B24061-FF3D-4B2F-9205-9859AA45EE72}" destId="{95EC7B72-4125-4746-BA92-652C046DBF7E}" srcOrd="2" destOrd="0" presId="urn:microsoft.com/office/officeart/2005/8/layout/orgChart1"/>
    <dgm:cxn modelId="{4549976F-C1AC-4EA4-9EBB-30B2B30716D0}" type="presParOf" srcId="{41BF1B5E-8FD9-49C9-A221-D6ACE8B91BB2}" destId="{47EA5480-D883-4F10-85FC-3C1C11868AAB}" srcOrd="12" destOrd="0" presId="urn:microsoft.com/office/officeart/2005/8/layout/orgChart1"/>
    <dgm:cxn modelId="{1D82CBEA-38D7-479A-8C8A-88F22FAE6EAE}" type="presParOf" srcId="{41BF1B5E-8FD9-49C9-A221-D6ACE8B91BB2}" destId="{BCF512F6-6D36-4271-A50B-AD3B7CF7BA17}" srcOrd="13" destOrd="0" presId="urn:microsoft.com/office/officeart/2005/8/layout/orgChart1"/>
    <dgm:cxn modelId="{4999CFA5-ADA1-496B-85C2-21A984D47789}" type="presParOf" srcId="{BCF512F6-6D36-4271-A50B-AD3B7CF7BA17}" destId="{D2ED8F56-4F8E-4086-8442-C1584854E740}" srcOrd="0" destOrd="0" presId="urn:microsoft.com/office/officeart/2005/8/layout/orgChart1"/>
    <dgm:cxn modelId="{079A123C-7CEB-4AA5-8387-42AB4C68A4E0}" type="presParOf" srcId="{D2ED8F56-4F8E-4086-8442-C1584854E740}" destId="{D80FB876-3642-4FE6-B768-C498CB2DC45B}" srcOrd="0" destOrd="0" presId="urn:microsoft.com/office/officeart/2005/8/layout/orgChart1"/>
    <dgm:cxn modelId="{07D7BECE-138D-474F-99EA-E59D14529CDD}" type="presParOf" srcId="{D2ED8F56-4F8E-4086-8442-C1584854E740}" destId="{342F66C1-B350-4FB9-B560-508F7697197D}" srcOrd="1" destOrd="0" presId="urn:microsoft.com/office/officeart/2005/8/layout/orgChart1"/>
    <dgm:cxn modelId="{463ED2C3-5CC4-4C5D-A325-533ADE138EA0}" type="presParOf" srcId="{BCF512F6-6D36-4271-A50B-AD3B7CF7BA17}" destId="{C4DE29B9-0056-473F-8C63-771358C8FCEC}" srcOrd="1" destOrd="0" presId="urn:microsoft.com/office/officeart/2005/8/layout/orgChart1"/>
    <dgm:cxn modelId="{2C6DFDE8-E931-4704-A0E3-D76B3F6128A5}" type="presParOf" srcId="{BCF512F6-6D36-4271-A50B-AD3B7CF7BA17}" destId="{0774DFF6-DBE3-4AF0-BB54-65B3ED36A342}" srcOrd="2" destOrd="0" presId="urn:microsoft.com/office/officeart/2005/8/layout/orgChart1"/>
    <dgm:cxn modelId="{E0B22C0A-A7E1-4830-853B-62C5E0BA9661}" type="presParOf" srcId="{FF68940A-B349-444C-AA28-D3E810C7133D}" destId="{C9882621-E649-49B7-B3B2-676FF7EF65A5}" srcOrd="2" destOrd="0" presId="urn:microsoft.com/office/officeart/2005/8/layout/orgChart1"/>
    <dgm:cxn modelId="{874E7D98-EAF3-44A2-9B6C-B8F8241E8EDF}" type="presParOf" srcId="{F88D0735-F9A5-4838-BF81-5F41B1860C85}" destId="{ABD12F8A-A439-4063-AA10-A83967468CAB}"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E992A6-A633-4754-A876-B06BF9F7A37B}">
      <dsp:nvSpPr>
        <dsp:cNvPr id="0" name=""/>
        <dsp:cNvSpPr/>
      </dsp:nvSpPr>
      <dsp:spPr>
        <a:xfrm>
          <a:off x="9860074" y="1494023"/>
          <a:ext cx="91440" cy="3458319"/>
        </a:xfrm>
        <a:custGeom>
          <a:avLst/>
          <a:gdLst/>
          <a:ahLst/>
          <a:cxnLst/>
          <a:rect l="0" t="0" r="0" b="0"/>
          <a:pathLst>
            <a:path>
              <a:moveTo>
                <a:pt x="89258" y="0"/>
              </a:moveTo>
              <a:lnTo>
                <a:pt x="45720" y="345831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A44425D-D7C8-40F6-A0F1-CB9AD593B73B}">
      <dsp:nvSpPr>
        <dsp:cNvPr id="0" name=""/>
        <dsp:cNvSpPr/>
      </dsp:nvSpPr>
      <dsp:spPr>
        <a:xfrm>
          <a:off x="9860074" y="1494023"/>
          <a:ext cx="91440" cy="2929341"/>
        </a:xfrm>
        <a:custGeom>
          <a:avLst/>
          <a:gdLst/>
          <a:ahLst/>
          <a:cxnLst/>
          <a:rect l="0" t="0" r="0" b="0"/>
          <a:pathLst>
            <a:path>
              <a:moveTo>
                <a:pt x="89258" y="0"/>
              </a:moveTo>
              <a:lnTo>
                <a:pt x="45720" y="292934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FD6F4FB-DDB8-4ECF-B98C-0BEC42938CD3}">
      <dsp:nvSpPr>
        <dsp:cNvPr id="0" name=""/>
        <dsp:cNvSpPr/>
      </dsp:nvSpPr>
      <dsp:spPr>
        <a:xfrm>
          <a:off x="9860074" y="1494023"/>
          <a:ext cx="91440" cy="2380890"/>
        </a:xfrm>
        <a:custGeom>
          <a:avLst/>
          <a:gdLst/>
          <a:ahLst/>
          <a:cxnLst/>
          <a:rect l="0" t="0" r="0" b="0"/>
          <a:pathLst>
            <a:path>
              <a:moveTo>
                <a:pt x="89258" y="0"/>
              </a:moveTo>
              <a:lnTo>
                <a:pt x="45720" y="238089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47F1120A-A083-49E8-9E5C-CE1F6413F9BB}">
      <dsp:nvSpPr>
        <dsp:cNvPr id="0" name=""/>
        <dsp:cNvSpPr/>
      </dsp:nvSpPr>
      <dsp:spPr>
        <a:xfrm>
          <a:off x="9860074" y="1494023"/>
          <a:ext cx="91440" cy="1849986"/>
        </a:xfrm>
        <a:custGeom>
          <a:avLst/>
          <a:gdLst/>
          <a:ahLst/>
          <a:cxnLst/>
          <a:rect l="0" t="0" r="0" b="0"/>
          <a:pathLst>
            <a:path>
              <a:moveTo>
                <a:pt x="89258" y="0"/>
              </a:moveTo>
              <a:lnTo>
                <a:pt x="45720" y="184998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513B296-BBE7-4146-9B5C-663C91C280DB}">
      <dsp:nvSpPr>
        <dsp:cNvPr id="0" name=""/>
        <dsp:cNvSpPr/>
      </dsp:nvSpPr>
      <dsp:spPr>
        <a:xfrm>
          <a:off x="9860074" y="1494023"/>
          <a:ext cx="91440" cy="1314655"/>
        </a:xfrm>
        <a:custGeom>
          <a:avLst/>
          <a:gdLst/>
          <a:ahLst/>
          <a:cxnLst/>
          <a:rect l="0" t="0" r="0" b="0"/>
          <a:pathLst>
            <a:path>
              <a:moveTo>
                <a:pt x="89258" y="0"/>
              </a:moveTo>
              <a:lnTo>
                <a:pt x="45720" y="131465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0D36E63-1B7A-4999-B032-672C2B5B93C8}">
      <dsp:nvSpPr>
        <dsp:cNvPr id="0" name=""/>
        <dsp:cNvSpPr/>
      </dsp:nvSpPr>
      <dsp:spPr>
        <a:xfrm>
          <a:off x="9860074" y="1494023"/>
          <a:ext cx="91440" cy="796943"/>
        </a:xfrm>
        <a:custGeom>
          <a:avLst/>
          <a:gdLst/>
          <a:ahLst/>
          <a:cxnLst/>
          <a:rect l="0" t="0" r="0" b="0"/>
          <a:pathLst>
            <a:path>
              <a:moveTo>
                <a:pt x="89258" y="0"/>
              </a:moveTo>
              <a:lnTo>
                <a:pt x="45720" y="79694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969B95B-BF5F-4C79-8B06-7BB350822E73}">
      <dsp:nvSpPr>
        <dsp:cNvPr id="0" name=""/>
        <dsp:cNvSpPr/>
      </dsp:nvSpPr>
      <dsp:spPr>
        <a:xfrm>
          <a:off x="9856766" y="1494023"/>
          <a:ext cx="91440" cy="292346"/>
        </a:xfrm>
        <a:custGeom>
          <a:avLst/>
          <a:gdLst/>
          <a:ahLst/>
          <a:cxnLst/>
          <a:rect l="0" t="0" r="0" b="0"/>
          <a:pathLst>
            <a:path>
              <a:moveTo>
                <a:pt x="92566" y="0"/>
              </a:moveTo>
              <a:lnTo>
                <a:pt x="45720" y="29234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6881711-8B76-4157-8371-D2A005E257D7}">
      <dsp:nvSpPr>
        <dsp:cNvPr id="0" name=""/>
        <dsp:cNvSpPr/>
      </dsp:nvSpPr>
      <dsp:spPr>
        <a:xfrm>
          <a:off x="5305616" y="776246"/>
          <a:ext cx="5522117" cy="91440"/>
        </a:xfrm>
        <a:custGeom>
          <a:avLst/>
          <a:gdLst/>
          <a:ahLst/>
          <a:cxnLst/>
          <a:rect l="0" t="0" r="0" b="0"/>
          <a:pathLst>
            <a:path>
              <a:moveTo>
                <a:pt x="0" y="45720"/>
              </a:moveTo>
              <a:lnTo>
                <a:pt x="5522117" y="45720"/>
              </a:lnTo>
              <a:lnTo>
                <a:pt x="5522117" y="11136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7B10B61-0933-49D5-9F06-7E2744C55194}">
      <dsp:nvSpPr>
        <dsp:cNvPr id="0" name=""/>
        <dsp:cNvSpPr/>
      </dsp:nvSpPr>
      <dsp:spPr>
        <a:xfrm>
          <a:off x="7531443" y="1577121"/>
          <a:ext cx="102103" cy="1657522"/>
        </a:xfrm>
        <a:custGeom>
          <a:avLst/>
          <a:gdLst/>
          <a:ahLst/>
          <a:cxnLst/>
          <a:rect l="0" t="0" r="0" b="0"/>
          <a:pathLst>
            <a:path>
              <a:moveTo>
                <a:pt x="102103" y="0"/>
              </a:moveTo>
              <a:lnTo>
                <a:pt x="0" y="165752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1B9B1158-72D8-4646-84DD-EF716B116A0C}">
      <dsp:nvSpPr>
        <dsp:cNvPr id="0" name=""/>
        <dsp:cNvSpPr/>
      </dsp:nvSpPr>
      <dsp:spPr>
        <a:xfrm>
          <a:off x="7531443" y="1577121"/>
          <a:ext cx="102103" cy="1017319"/>
        </a:xfrm>
        <a:custGeom>
          <a:avLst/>
          <a:gdLst/>
          <a:ahLst/>
          <a:cxnLst/>
          <a:rect l="0" t="0" r="0" b="0"/>
          <a:pathLst>
            <a:path>
              <a:moveTo>
                <a:pt x="102103" y="0"/>
              </a:moveTo>
              <a:lnTo>
                <a:pt x="0" y="101731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DC3783D-00DF-4D73-BC7D-A41DFB3A67B6}">
      <dsp:nvSpPr>
        <dsp:cNvPr id="0" name=""/>
        <dsp:cNvSpPr/>
      </dsp:nvSpPr>
      <dsp:spPr>
        <a:xfrm>
          <a:off x="7485399" y="1577121"/>
          <a:ext cx="148148" cy="377121"/>
        </a:xfrm>
        <a:custGeom>
          <a:avLst/>
          <a:gdLst/>
          <a:ahLst/>
          <a:cxnLst/>
          <a:rect l="0" t="0" r="0" b="0"/>
          <a:pathLst>
            <a:path>
              <a:moveTo>
                <a:pt x="148148" y="0"/>
              </a:moveTo>
              <a:lnTo>
                <a:pt x="0" y="37712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08577E6-9F61-4368-8C6C-6BFE825C8CCF}">
      <dsp:nvSpPr>
        <dsp:cNvPr id="0" name=""/>
        <dsp:cNvSpPr/>
      </dsp:nvSpPr>
      <dsp:spPr>
        <a:xfrm>
          <a:off x="5305616" y="776246"/>
          <a:ext cx="3206332" cy="91440"/>
        </a:xfrm>
        <a:custGeom>
          <a:avLst/>
          <a:gdLst/>
          <a:ahLst/>
          <a:cxnLst/>
          <a:rect l="0" t="0" r="0" b="0"/>
          <a:pathLst>
            <a:path>
              <a:moveTo>
                <a:pt x="0" y="45720"/>
              </a:moveTo>
              <a:lnTo>
                <a:pt x="3206332" y="45720"/>
              </a:lnTo>
              <a:lnTo>
                <a:pt x="3206332" y="11136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023BEAD-FFE1-4FE2-87DF-FBE8E5BE29A9}">
      <dsp:nvSpPr>
        <dsp:cNvPr id="0" name=""/>
        <dsp:cNvSpPr/>
      </dsp:nvSpPr>
      <dsp:spPr>
        <a:xfrm>
          <a:off x="5021149" y="1438198"/>
          <a:ext cx="91440" cy="1903485"/>
        </a:xfrm>
        <a:custGeom>
          <a:avLst/>
          <a:gdLst/>
          <a:ahLst/>
          <a:cxnLst/>
          <a:rect l="0" t="0" r="0" b="0"/>
          <a:pathLst>
            <a:path>
              <a:moveTo>
                <a:pt x="117914" y="0"/>
              </a:moveTo>
              <a:lnTo>
                <a:pt x="45720" y="190348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4292BEEF-ED59-4044-B99B-DC4347476C93}">
      <dsp:nvSpPr>
        <dsp:cNvPr id="0" name=""/>
        <dsp:cNvSpPr/>
      </dsp:nvSpPr>
      <dsp:spPr>
        <a:xfrm>
          <a:off x="5029694" y="1438198"/>
          <a:ext cx="91440" cy="1192191"/>
        </a:xfrm>
        <a:custGeom>
          <a:avLst/>
          <a:gdLst/>
          <a:ahLst/>
          <a:cxnLst/>
          <a:rect l="0" t="0" r="0" b="0"/>
          <a:pathLst>
            <a:path>
              <a:moveTo>
                <a:pt x="109368" y="0"/>
              </a:moveTo>
              <a:lnTo>
                <a:pt x="45720" y="119219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9233F8A3-3DD8-405A-B709-2177E2199FEB}">
      <dsp:nvSpPr>
        <dsp:cNvPr id="0" name=""/>
        <dsp:cNvSpPr/>
      </dsp:nvSpPr>
      <dsp:spPr>
        <a:xfrm>
          <a:off x="5012837" y="1438198"/>
          <a:ext cx="91440" cy="427055"/>
        </a:xfrm>
        <a:custGeom>
          <a:avLst/>
          <a:gdLst/>
          <a:ahLst/>
          <a:cxnLst/>
          <a:rect l="0" t="0" r="0" b="0"/>
          <a:pathLst>
            <a:path>
              <a:moveTo>
                <a:pt x="126225" y="0"/>
              </a:moveTo>
              <a:lnTo>
                <a:pt x="45720" y="42705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0B2D542-C665-4A27-AB65-BE2D43E07D73}">
      <dsp:nvSpPr>
        <dsp:cNvPr id="0" name=""/>
        <dsp:cNvSpPr/>
      </dsp:nvSpPr>
      <dsp:spPr>
        <a:xfrm>
          <a:off x="5305616" y="776246"/>
          <a:ext cx="711848" cy="91440"/>
        </a:xfrm>
        <a:custGeom>
          <a:avLst/>
          <a:gdLst/>
          <a:ahLst/>
          <a:cxnLst/>
          <a:rect l="0" t="0" r="0" b="0"/>
          <a:pathLst>
            <a:path>
              <a:moveTo>
                <a:pt x="0" y="45720"/>
              </a:moveTo>
              <a:lnTo>
                <a:pt x="711848" y="45720"/>
              </a:lnTo>
              <a:lnTo>
                <a:pt x="711848" y="11034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0A2B68C-81AE-484B-AA25-5AD1DD9964D7}">
      <dsp:nvSpPr>
        <dsp:cNvPr id="0" name=""/>
        <dsp:cNvSpPr/>
      </dsp:nvSpPr>
      <dsp:spPr>
        <a:xfrm>
          <a:off x="4443262" y="1403723"/>
          <a:ext cx="91440" cy="3417613"/>
        </a:xfrm>
        <a:custGeom>
          <a:avLst/>
          <a:gdLst/>
          <a:ahLst/>
          <a:cxnLst/>
          <a:rect l="0" t="0" r="0" b="0"/>
          <a:pathLst>
            <a:path>
              <a:moveTo>
                <a:pt x="45720" y="0"/>
              </a:moveTo>
              <a:lnTo>
                <a:pt x="126072" y="341761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15BFC48D-BBC2-4AA7-84DF-E08D387E4BEE}">
      <dsp:nvSpPr>
        <dsp:cNvPr id="0" name=""/>
        <dsp:cNvSpPr/>
      </dsp:nvSpPr>
      <dsp:spPr>
        <a:xfrm>
          <a:off x="4443262" y="1403723"/>
          <a:ext cx="91440" cy="2894294"/>
        </a:xfrm>
        <a:custGeom>
          <a:avLst/>
          <a:gdLst/>
          <a:ahLst/>
          <a:cxnLst/>
          <a:rect l="0" t="0" r="0" b="0"/>
          <a:pathLst>
            <a:path>
              <a:moveTo>
                <a:pt x="45720" y="0"/>
              </a:moveTo>
              <a:lnTo>
                <a:pt x="90402" y="289429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A812832-9151-4475-AEEE-997AAEA180DD}">
      <dsp:nvSpPr>
        <dsp:cNvPr id="0" name=""/>
        <dsp:cNvSpPr/>
      </dsp:nvSpPr>
      <dsp:spPr>
        <a:xfrm>
          <a:off x="4443262" y="1403723"/>
          <a:ext cx="91440" cy="2366643"/>
        </a:xfrm>
        <a:custGeom>
          <a:avLst/>
          <a:gdLst/>
          <a:ahLst/>
          <a:cxnLst/>
          <a:rect l="0" t="0" r="0" b="0"/>
          <a:pathLst>
            <a:path>
              <a:moveTo>
                <a:pt x="45720" y="0"/>
              </a:moveTo>
              <a:lnTo>
                <a:pt x="90402" y="236664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C19CDE8-1619-435F-BE8B-2AB153E85879}">
      <dsp:nvSpPr>
        <dsp:cNvPr id="0" name=""/>
        <dsp:cNvSpPr/>
      </dsp:nvSpPr>
      <dsp:spPr>
        <a:xfrm>
          <a:off x="4443262" y="1403723"/>
          <a:ext cx="91440" cy="1838988"/>
        </a:xfrm>
        <a:custGeom>
          <a:avLst/>
          <a:gdLst/>
          <a:ahLst/>
          <a:cxnLst/>
          <a:rect l="0" t="0" r="0" b="0"/>
          <a:pathLst>
            <a:path>
              <a:moveTo>
                <a:pt x="45720" y="0"/>
              </a:moveTo>
              <a:lnTo>
                <a:pt x="90402" y="183898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20E2316-F1C9-4B58-809C-37D7B49498A8}">
      <dsp:nvSpPr>
        <dsp:cNvPr id="0" name=""/>
        <dsp:cNvSpPr/>
      </dsp:nvSpPr>
      <dsp:spPr>
        <a:xfrm>
          <a:off x="4443262" y="1403723"/>
          <a:ext cx="91440" cy="1306997"/>
        </a:xfrm>
        <a:custGeom>
          <a:avLst/>
          <a:gdLst/>
          <a:ahLst/>
          <a:cxnLst/>
          <a:rect l="0" t="0" r="0" b="0"/>
          <a:pathLst>
            <a:path>
              <a:moveTo>
                <a:pt x="45720" y="0"/>
              </a:moveTo>
              <a:lnTo>
                <a:pt x="89889" y="130699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8126E7ED-1EFB-4DC7-B93C-A509EDCFECC6}">
      <dsp:nvSpPr>
        <dsp:cNvPr id="0" name=""/>
        <dsp:cNvSpPr/>
      </dsp:nvSpPr>
      <dsp:spPr>
        <a:xfrm>
          <a:off x="4443262" y="1403723"/>
          <a:ext cx="91440" cy="776250"/>
        </a:xfrm>
        <a:custGeom>
          <a:avLst/>
          <a:gdLst/>
          <a:ahLst/>
          <a:cxnLst/>
          <a:rect l="0" t="0" r="0" b="0"/>
          <a:pathLst>
            <a:path>
              <a:moveTo>
                <a:pt x="45720" y="0"/>
              </a:moveTo>
              <a:lnTo>
                <a:pt x="89889" y="77625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B68F40B-CA34-4933-9B66-DF0F8E5E033E}">
      <dsp:nvSpPr>
        <dsp:cNvPr id="0" name=""/>
        <dsp:cNvSpPr/>
      </dsp:nvSpPr>
      <dsp:spPr>
        <a:xfrm>
          <a:off x="4443262" y="1403723"/>
          <a:ext cx="91440" cy="278315"/>
        </a:xfrm>
        <a:custGeom>
          <a:avLst/>
          <a:gdLst/>
          <a:ahLst/>
          <a:cxnLst/>
          <a:rect l="0" t="0" r="0" b="0"/>
          <a:pathLst>
            <a:path>
              <a:moveTo>
                <a:pt x="45720" y="0"/>
              </a:moveTo>
              <a:lnTo>
                <a:pt x="89889" y="27831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A158FBDA-FE80-481D-A683-1087A6297DF7}">
      <dsp:nvSpPr>
        <dsp:cNvPr id="0" name=""/>
        <dsp:cNvSpPr/>
      </dsp:nvSpPr>
      <dsp:spPr>
        <a:xfrm>
          <a:off x="3610581" y="776246"/>
          <a:ext cx="1695035" cy="91440"/>
        </a:xfrm>
        <a:custGeom>
          <a:avLst/>
          <a:gdLst/>
          <a:ahLst/>
          <a:cxnLst/>
          <a:rect l="0" t="0" r="0" b="0"/>
          <a:pathLst>
            <a:path>
              <a:moveTo>
                <a:pt x="1695035" y="45720"/>
              </a:moveTo>
              <a:lnTo>
                <a:pt x="0" y="45720"/>
              </a:lnTo>
              <a:lnTo>
                <a:pt x="0" y="11034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DA0D309-749C-449A-8DB4-EAF8CCA3E67D}">
      <dsp:nvSpPr>
        <dsp:cNvPr id="0" name=""/>
        <dsp:cNvSpPr/>
      </dsp:nvSpPr>
      <dsp:spPr>
        <a:xfrm>
          <a:off x="1899965" y="1499617"/>
          <a:ext cx="91440" cy="3279485"/>
        </a:xfrm>
        <a:custGeom>
          <a:avLst/>
          <a:gdLst/>
          <a:ahLst/>
          <a:cxnLst/>
          <a:rect l="0" t="0" r="0" b="0"/>
          <a:pathLst>
            <a:path>
              <a:moveTo>
                <a:pt x="76437" y="0"/>
              </a:moveTo>
              <a:lnTo>
                <a:pt x="76437" y="3279485"/>
              </a:lnTo>
              <a:lnTo>
                <a:pt x="45720" y="327948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8F6A058-7E48-4D72-99DA-87A83BD6629F}">
      <dsp:nvSpPr>
        <dsp:cNvPr id="0" name=""/>
        <dsp:cNvSpPr/>
      </dsp:nvSpPr>
      <dsp:spPr>
        <a:xfrm>
          <a:off x="1899965" y="1499617"/>
          <a:ext cx="91440" cy="2515417"/>
        </a:xfrm>
        <a:custGeom>
          <a:avLst/>
          <a:gdLst/>
          <a:ahLst/>
          <a:cxnLst/>
          <a:rect l="0" t="0" r="0" b="0"/>
          <a:pathLst>
            <a:path>
              <a:moveTo>
                <a:pt x="76437" y="0"/>
              </a:moveTo>
              <a:lnTo>
                <a:pt x="76437" y="2515417"/>
              </a:lnTo>
              <a:lnTo>
                <a:pt x="45720" y="251541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74B3E2F-8466-4A4D-AA59-72F2C06F9895}">
      <dsp:nvSpPr>
        <dsp:cNvPr id="0" name=""/>
        <dsp:cNvSpPr/>
      </dsp:nvSpPr>
      <dsp:spPr>
        <a:xfrm>
          <a:off x="1899965" y="1499617"/>
          <a:ext cx="91440" cy="1842125"/>
        </a:xfrm>
        <a:custGeom>
          <a:avLst/>
          <a:gdLst/>
          <a:ahLst/>
          <a:cxnLst/>
          <a:rect l="0" t="0" r="0" b="0"/>
          <a:pathLst>
            <a:path>
              <a:moveTo>
                <a:pt x="76437" y="0"/>
              </a:moveTo>
              <a:lnTo>
                <a:pt x="76437" y="1842125"/>
              </a:lnTo>
              <a:lnTo>
                <a:pt x="45720" y="184212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64E373CE-42B0-47C0-B6D5-3083549CC155}">
      <dsp:nvSpPr>
        <dsp:cNvPr id="0" name=""/>
        <dsp:cNvSpPr/>
      </dsp:nvSpPr>
      <dsp:spPr>
        <a:xfrm>
          <a:off x="1899965" y="1499617"/>
          <a:ext cx="91440" cy="1319991"/>
        </a:xfrm>
        <a:custGeom>
          <a:avLst/>
          <a:gdLst/>
          <a:ahLst/>
          <a:cxnLst/>
          <a:rect l="0" t="0" r="0" b="0"/>
          <a:pathLst>
            <a:path>
              <a:moveTo>
                <a:pt x="76437" y="0"/>
              </a:moveTo>
              <a:lnTo>
                <a:pt x="76437" y="1319991"/>
              </a:lnTo>
              <a:lnTo>
                <a:pt x="45720" y="131999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AA3C3BF-7366-4C82-8833-2DCCDBBFBA6C}">
      <dsp:nvSpPr>
        <dsp:cNvPr id="0" name=""/>
        <dsp:cNvSpPr/>
      </dsp:nvSpPr>
      <dsp:spPr>
        <a:xfrm>
          <a:off x="1899965" y="1499617"/>
          <a:ext cx="91440" cy="797853"/>
        </a:xfrm>
        <a:custGeom>
          <a:avLst/>
          <a:gdLst/>
          <a:ahLst/>
          <a:cxnLst/>
          <a:rect l="0" t="0" r="0" b="0"/>
          <a:pathLst>
            <a:path>
              <a:moveTo>
                <a:pt x="76437" y="0"/>
              </a:moveTo>
              <a:lnTo>
                <a:pt x="76437" y="797853"/>
              </a:lnTo>
              <a:lnTo>
                <a:pt x="45720" y="79785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2ADB7DE-FFDE-43B9-98C0-716921DBE890}">
      <dsp:nvSpPr>
        <dsp:cNvPr id="0" name=""/>
        <dsp:cNvSpPr/>
      </dsp:nvSpPr>
      <dsp:spPr>
        <a:xfrm>
          <a:off x="1899965" y="1499617"/>
          <a:ext cx="91440" cy="277292"/>
        </a:xfrm>
        <a:custGeom>
          <a:avLst/>
          <a:gdLst/>
          <a:ahLst/>
          <a:cxnLst/>
          <a:rect l="0" t="0" r="0" b="0"/>
          <a:pathLst>
            <a:path>
              <a:moveTo>
                <a:pt x="76437" y="0"/>
              </a:moveTo>
              <a:lnTo>
                <a:pt x="76437" y="277292"/>
              </a:lnTo>
              <a:lnTo>
                <a:pt x="45720" y="27729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E7B0CDF-331C-43D7-B14C-4D2214ECC84C}">
      <dsp:nvSpPr>
        <dsp:cNvPr id="0" name=""/>
        <dsp:cNvSpPr/>
      </dsp:nvSpPr>
      <dsp:spPr>
        <a:xfrm>
          <a:off x="1098001" y="776246"/>
          <a:ext cx="4207614" cy="91440"/>
        </a:xfrm>
        <a:custGeom>
          <a:avLst/>
          <a:gdLst/>
          <a:ahLst/>
          <a:cxnLst/>
          <a:rect l="0" t="0" r="0" b="0"/>
          <a:pathLst>
            <a:path>
              <a:moveTo>
                <a:pt x="4207614" y="45720"/>
              </a:moveTo>
              <a:lnTo>
                <a:pt x="0" y="45720"/>
              </a:lnTo>
              <a:lnTo>
                <a:pt x="0" y="11136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A9E37B58-C84D-4333-9EB6-FEA63F667BD6}">
      <dsp:nvSpPr>
        <dsp:cNvPr id="0" name=""/>
        <dsp:cNvSpPr/>
      </dsp:nvSpPr>
      <dsp:spPr>
        <a:xfrm>
          <a:off x="131116" y="0"/>
          <a:ext cx="10349000" cy="821966"/>
        </a:xfrm>
        <a:prstGeom prst="rect">
          <a:avLst/>
        </a:prstGeom>
        <a:solidFill>
          <a:srgbClr val="679F8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b="1" kern="1200" dirty="0" smtClean="0">
              <a:solidFill>
                <a:sysClr val="window" lastClr="FFFFFF"/>
              </a:solidFill>
              <a:latin typeface="Lato"/>
              <a:ea typeface="+mn-ea"/>
              <a:cs typeface="+mn-cs"/>
            </a:rPr>
            <a:t>Problem Statement  Strategic Support:</a:t>
          </a:r>
        </a:p>
        <a:p>
          <a:pPr lvl="0" algn="ctr" defTabSz="711200">
            <a:lnSpc>
              <a:spcPct val="90000"/>
            </a:lnSpc>
            <a:spcBef>
              <a:spcPct val="0"/>
            </a:spcBef>
            <a:spcAft>
              <a:spcPct val="35000"/>
            </a:spcAft>
          </a:pPr>
          <a:r>
            <a:rPr lang="en-ZA" sz="1600" b="1" kern="1200" dirty="0" smtClean="0">
              <a:solidFill>
                <a:sysClr val="window" lastClr="FFFFFF"/>
              </a:solidFill>
              <a:latin typeface="Lato"/>
              <a:ea typeface="+mn-ea"/>
              <a:cs typeface="+mn-cs"/>
            </a:rPr>
            <a:t>Lack of an enabling environment that supports service delivery  excellence  </a:t>
          </a:r>
          <a:endParaRPr lang="en-GB" sz="1600" b="1" kern="1200" dirty="0">
            <a:solidFill>
              <a:sysClr val="window" lastClr="FFFFFF"/>
            </a:solidFill>
            <a:latin typeface="Lato"/>
            <a:ea typeface="+mn-ea"/>
            <a:cs typeface="+mn-cs"/>
          </a:endParaRPr>
        </a:p>
      </dsp:txBody>
      <dsp:txXfrm>
        <a:off x="131116" y="0"/>
        <a:ext cx="10349000" cy="821966"/>
      </dsp:txXfrm>
    </dsp:sp>
    <dsp:sp modelId="{5C9EBB69-F299-433C-9832-400183B089DB}">
      <dsp:nvSpPr>
        <dsp:cNvPr id="0" name=""/>
        <dsp:cNvSpPr/>
      </dsp:nvSpPr>
      <dsp:spPr>
        <a:xfrm>
          <a:off x="0" y="887615"/>
          <a:ext cx="2196003" cy="612001"/>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b="1" kern="1200" dirty="0" smtClean="0">
              <a:solidFill>
                <a:sysClr val="windowText" lastClr="000000"/>
              </a:solidFill>
              <a:latin typeface="Lato"/>
              <a:ea typeface="+mn-ea"/>
              <a:cs typeface="+mn-cs"/>
            </a:rPr>
            <a:t>Direct cause:</a:t>
          </a:r>
        </a:p>
        <a:p>
          <a:pPr lvl="0" algn="ctr" defTabSz="444500">
            <a:lnSpc>
              <a:spcPct val="90000"/>
            </a:lnSpc>
            <a:spcBef>
              <a:spcPct val="0"/>
            </a:spcBef>
            <a:spcAft>
              <a:spcPct val="35000"/>
            </a:spcAft>
          </a:pPr>
          <a:r>
            <a:rPr lang="en-ZA" sz="1000" b="1" kern="1200" dirty="0" smtClean="0">
              <a:solidFill>
                <a:sysClr val="windowText" lastClr="000000"/>
              </a:solidFill>
              <a:latin typeface="Lato"/>
              <a:ea typeface="+mn-ea"/>
              <a:cs typeface="+mn-cs"/>
            </a:rPr>
            <a:t>Lack of  integrate business information for informed decision making</a:t>
          </a:r>
          <a:endParaRPr lang="en-GB" sz="1000" b="1" kern="1200" dirty="0">
            <a:solidFill>
              <a:sysClr val="windowText" lastClr="000000"/>
            </a:solidFill>
            <a:latin typeface="Lato"/>
            <a:ea typeface="+mn-ea"/>
            <a:cs typeface="+mn-cs"/>
          </a:endParaRPr>
        </a:p>
      </dsp:txBody>
      <dsp:txXfrm>
        <a:off x="0" y="887615"/>
        <a:ext cx="2196003" cy="612001"/>
      </dsp:txXfrm>
    </dsp:sp>
    <dsp:sp modelId="{EC6C2DB6-0354-41F7-B81C-792F0FA9A4EE}">
      <dsp:nvSpPr>
        <dsp:cNvPr id="0" name=""/>
        <dsp:cNvSpPr/>
      </dsp:nvSpPr>
      <dsp:spPr>
        <a:xfrm>
          <a:off x="87527" y="1551552"/>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Data is maintained in multiple systems that are not integrated</a:t>
          </a:r>
          <a:endParaRPr lang="en-GB" sz="1000" kern="1200" dirty="0">
            <a:solidFill>
              <a:sysClr val="windowText" lastClr="000000"/>
            </a:solidFill>
            <a:latin typeface="Lato"/>
            <a:ea typeface="+mn-ea"/>
            <a:cs typeface="+mn-cs"/>
          </a:endParaRPr>
        </a:p>
      </dsp:txBody>
      <dsp:txXfrm>
        <a:off x="87527" y="1551552"/>
        <a:ext cx="1858157" cy="450713"/>
      </dsp:txXfrm>
    </dsp:sp>
    <dsp:sp modelId="{CF73B623-D36E-4A4E-8B66-62BC3E50EC0C}">
      <dsp:nvSpPr>
        <dsp:cNvPr id="0" name=""/>
        <dsp:cNvSpPr/>
      </dsp:nvSpPr>
      <dsp:spPr>
        <a:xfrm>
          <a:off x="87527" y="2072113"/>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Manual systems that are prone to human error, high security risks</a:t>
          </a:r>
          <a:endParaRPr lang="en-GB" sz="1000" kern="1200" dirty="0" smtClean="0">
            <a:solidFill>
              <a:sysClr val="windowText" lastClr="000000"/>
            </a:solidFill>
            <a:latin typeface="Lato"/>
            <a:ea typeface="+mn-ea"/>
            <a:cs typeface="+mn-cs"/>
          </a:endParaRPr>
        </a:p>
      </dsp:txBody>
      <dsp:txXfrm>
        <a:off x="87527" y="2072113"/>
        <a:ext cx="1858157" cy="450713"/>
      </dsp:txXfrm>
    </dsp:sp>
    <dsp:sp modelId="{C91CBDDB-C61F-488B-86C6-4EEFDF3ED038}">
      <dsp:nvSpPr>
        <dsp:cNvPr id="0" name=""/>
        <dsp:cNvSpPr/>
      </dsp:nvSpPr>
      <dsp:spPr>
        <a:xfrm>
          <a:off x="87527" y="2594252"/>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GB" sz="1100" kern="1200" dirty="0" smtClean="0">
              <a:solidFill>
                <a:sysClr val="windowText" lastClr="000000"/>
              </a:solidFill>
              <a:latin typeface="Lato"/>
              <a:ea typeface="+mn-ea"/>
              <a:cs typeface="+mn-cs"/>
            </a:rPr>
            <a:t>Inadequate ICT connectivity (bandwidth)</a:t>
          </a:r>
        </a:p>
      </dsp:txBody>
      <dsp:txXfrm>
        <a:off x="87527" y="2594252"/>
        <a:ext cx="1858157" cy="450713"/>
      </dsp:txXfrm>
    </dsp:sp>
    <dsp:sp modelId="{4F5D1301-39C3-4858-B8EF-E38A066270C0}">
      <dsp:nvSpPr>
        <dsp:cNvPr id="0" name=""/>
        <dsp:cNvSpPr/>
      </dsp:nvSpPr>
      <dsp:spPr>
        <a:xfrm>
          <a:off x="87527" y="3116386"/>
          <a:ext cx="1858157"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Old infrastructure that is obsolete</a:t>
          </a:r>
          <a:endParaRPr lang="en-GB" sz="1200" kern="1200" dirty="0" smtClean="0">
            <a:solidFill>
              <a:sysClr val="windowText" lastClr="000000"/>
            </a:solidFill>
            <a:latin typeface="Lato"/>
            <a:ea typeface="+mn-ea"/>
            <a:cs typeface="+mn-cs"/>
          </a:endParaRPr>
        </a:p>
      </dsp:txBody>
      <dsp:txXfrm>
        <a:off x="87527" y="3116386"/>
        <a:ext cx="1858157" cy="450713"/>
      </dsp:txXfrm>
    </dsp:sp>
    <dsp:sp modelId="{F2BD23BC-2E0A-441B-BE28-E14725F51793}">
      <dsp:nvSpPr>
        <dsp:cNvPr id="0" name=""/>
        <dsp:cNvSpPr/>
      </dsp:nvSpPr>
      <dsp:spPr>
        <a:xfrm>
          <a:off x="87527" y="3713112"/>
          <a:ext cx="1858157" cy="60384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Lack of  security technology standard to meet functional requirements</a:t>
          </a:r>
          <a:endParaRPr lang="en-GB" sz="1050" kern="1200" dirty="0" smtClean="0">
            <a:solidFill>
              <a:sysClr val="windowText" lastClr="000000"/>
            </a:solidFill>
            <a:latin typeface="Lato"/>
            <a:ea typeface="+mn-ea"/>
            <a:cs typeface="+mn-cs"/>
          </a:endParaRPr>
        </a:p>
      </dsp:txBody>
      <dsp:txXfrm>
        <a:off x="87527" y="3713112"/>
        <a:ext cx="1858157" cy="603843"/>
      </dsp:txXfrm>
    </dsp:sp>
    <dsp:sp modelId="{B0363488-F9A3-4DD4-BCDF-D8D2C1C53362}">
      <dsp:nvSpPr>
        <dsp:cNvPr id="0" name=""/>
        <dsp:cNvSpPr/>
      </dsp:nvSpPr>
      <dsp:spPr>
        <a:xfrm>
          <a:off x="87527" y="4388381"/>
          <a:ext cx="1858157" cy="78144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Dysfunctional and ineffective of Security Technology (no integration between Information Network and Security Technology)</a:t>
          </a:r>
          <a:endParaRPr lang="en-GB" sz="1000" kern="1200" dirty="0" smtClean="0">
            <a:solidFill>
              <a:sysClr val="windowText" lastClr="000000"/>
            </a:solidFill>
            <a:latin typeface="Lato"/>
            <a:ea typeface="+mn-ea"/>
            <a:cs typeface="+mn-cs"/>
          </a:endParaRPr>
        </a:p>
      </dsp:txBody>
      <dsp:txXfrm>
        <a:off x="87527" y="4388381"/>
        <a:ext cx="1858157" cy="781442"/>
      </dsp:txXfrm>
    </dsp:sp>
    <dsp:sp modelId="{7D987F92-7D35-4143-98F0-7F550C1854D0}">
      <dsp:nvSpPr>
        <dsp:cNvPr id="0" name=""/>
        <dsp:cNvSpPr/>
      </dsp:nvSpPr>
      <dsp:spPr>
        <a:xfrm>
          <a:off x="2512579" y="886592"/>
          <a:ext cx="2196003" cy="517130"/>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b="1" kern="1200" dirty="0" smtClean="0">
              <a:solidFill>
                <a:sysClr val="windowText" lastClr="000000"/>
              </a:solidFill>
              <a:latin typeface="Lato"/>
              <a:ea typeface="+mn-ea"/>
              <a:cs typeface="+mn-cs"/>
            </a:rPr>
            <a:t>Direct cause:</a:t>
          </a:r>
        </a:p>
        <a:p>
          <a:pPr lvl="0" algn="ctr" defTabSz="488950">
            <a:lnSpc>
              <a:spcPct val="90000"/>
            </a:lnSpc>
            <a:spcBef>
              <a:spcPct val="0"/>
            </a:spcBef>
            <a:spcAft>
              <a:spcPct val="35000"/>
            </a:spcAft>
          </a:pPr>
          <a:r>
            <a:rPr lang="en-ZA" sz="1100" b="1" kern="1200" dirty="0" smtClean="0">
              <a:solidFill>
                <a:sysClr val="windowText" lastClr="000000"/>
              </a:solidFill>
              <a:latin typeface="Lato"/>
              <a:ea typeface="+mn-ea"/>
              <a:cs typeface="+mn-cs"/>
            </a:rPr>
            <a:t>Inadequate organisational  capacity</a:t>
          </a:r>
          <a:endParaRPr lang="en-GB" sz="1100" b="1" kern="1200" dirty="0">
            <a:solidFill>
              <a:sysClr val="windowText" lastClr="000000"/>
            </a:solidFill>
            <a:latin typeface="Lato"/>
            <a:ea typeface="+mn-ea"/>
            <a:cs typeface="+mn-cs"/>
          </a:endParaRPr>
        </a:p>
      </dsp:txBody>
      <dsp:txXfrm>
        <a:off x="2512579" y="886592"/>
        <a:ext cx="2196003" cy="517130"/>
      </dsp:txXfrm>
    </dsp:sp>
    <dsp:sp modelId="{7DE978DE-FDD4-4585-A148-67512926481F}">
      <dsp:nvSpPr>
        <dsp:cNvPr id="0" name=""/>
        <dsp:cNvSpPr/>
      </dsp:nvSpPr>
      <dsp:spPr>
        <a:xfrm>
          <a:off x="2577198" y="1456682"/>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Poor recruitment and retention strategy</a:t>
          </a:r>
          <a:endParaRPr lang="en-GB" sz="1200" kern="1200" dirty="0">
            <a:solidFill>
              <a:sysClr val="windowText" lastClr="000000"/>
            </a:solidFill>
            <a:latin typeface="Lato"/>
            <a:ea typeface="+mn-ea"/>
            <a:cs typeface="+mn-cs"/>
          </a:endParaRPr>
        </a:p>
      </dsp:txBody>
      <dsp:txXfrm>
        <a:off x="2577198" y="1456682"/>
        <a:ext cx="1955953" cy="450713"/>
      </dsp:txXfrm>
    </dsp:sp>
    <dsp:sp modelId="{95060CD5-E72B-43E3-AE00-28ED9DE85B01}">
      <dsp:nvSpPr>
        <dsp:cNvPr id="0" name=""/>
        <dsp:cNvSpPr/>
      </dsp:nvSpPr>
      <dsp:spPr>
        <a:xfrm>
          <a:off x="2577198" y="1954617"/>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Non-compliance with employment equity targets and AA measures</a:t>
          </a:r>
          <a:endParaRPr lang="en-GB" sz="1000" kern="1200" dirty="0">
            <a:solidFill>
              <a:sysClr val="windowText" lastClr="000000"/>
            </a:solidFill>
            <a:latin typeface="Lato"/>
            <a:ea typeface="+mn-ea"/>
            <a:cs typeface="+mn-cs"/>
          </a:endParaRPr>
        </a:p>
      </dsp:txBody>
      <dsp:txXfrm>
        <a:off x="2577198" y="1954617"/>
        <a:ext cx="1955953" cy="450713"/>
      </dsp:txXfrm>
    </dsp:sp>
    <dsp:sp modelId="{175ADE88-AD71-4BAF-A40D-557E80A72AF6}">
      <dsp:nvSpPr>
        <dsp:cNvPr id="0" name=""/>
        <dsp:cNvSpPr/>
      </dsp:nvSpPr>
      <dsp:spPr>
        <a:xfrm>
          <a:off x="2577198" y="2485364"/>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Organisational structure not aligned to mandate</a:t>
          </a:r>
          <a:endParaRPr lang="en-GB" sz="1000" kern="1200" dirty="0">
            <a:solidFill>
              <a:sysClr val="windowText" lastClr="000000"/>
            </a:solidFill>
            <a:latin typeface="Lato"/>
            <a:ea typeface="+mn-ea"/>
            <a:cs typeface="+mn-cs"/>
          </a:endParaRPr>
        </a:p>
      </dsp:txBody>
      <dsp:txXfrm>
        <a:off x="2577198" y="2485364"/>
        <a:ext cx="1955953" cy="450713"/>
      </dsp:txXfrm>
    </dsp:sp>
    <dsp:sp modelId="{356B3328-D764-40AC-8224-7C581170E4AA}">
      <dsp:nvSpPr>
        <dsp:cNvPr id="0" name=""/>
        <dsp:cNvSpPr/>
      </dsp:nvSpPr>
      <dsp:spPr>
        <a:xfrm>
          <a:off x="2577712" y="3017355"/>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sysClr val="windowText" lastClr="000000"/>
              </a:solidFill>
              <a:latin typeface="Lato"/>
              <a:ea typeface="+mn-ea"/>
              <a:cs typeface="+mn-cs"/>
            </a:rPr>
            <a:t>Inadequate resourcing of the colleges </a:t>
          </a:r>
          <a:endParaRPr lang="en-GB" sz="1100" kern="1200" dirty="0">
            <a:solidFill>
              <a:sysClr val="windowText" lastClr="000000"/>
            </a:solidFill>
            <a:latin typeface="Lato"/>
            <a:ea typeface="+mn-ea"/>
            <a:cs typeface="+mn-cs"/>
          </a:endParaRPr>
        </a:p>
      </dsp:txBody>
      <dsp:txXfrm>
        <a:off x="2577712" y="3017355"/>
        <a:ext cx="1955953" cy="450713"/>
      </dsp:txXfrm>
    </dsp:sp>
    <dsp:sp modelId="{0E5ADF65-7528-4E6B-A814-7FD4CDCBAEB0}">
      <dsp:nvSpPr>
        <dsp:cNvPr id="0" name=""/>
        <dsp:cNvSpPr/>
      </dsp:nvSpPr>
      <dsp:spPr>
        <a:xfrm>
          <a:off x="2577712" y="3545010"/>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GB" sz="1050" kern="1200" dirty="0" smtClean="0">
              <a:solidFill>
                <a:sysClr val="windowText" lastClr="000000"/>
              </a:solidFill>
              <a:latin typeface="Lato"/>
              <a:ea typeface="+mn-ea"/>
              <a:cs typeface="+mn-cs"/>
            </a:rPr>
            <a:t>Inconsistent implementation of HR directives  </a:t>
          </a:r>
          <a:endParaRPr lang="en-GB" sz="1050" kern="1200" dirty="0">
            <a:solidFill>
              <a:sysClr val="windowText" lastClr="000000"/>
            </a:solidFill>
            <a:latin typeface="Lato"/>
            <a:ea typeface="+mn-ea"/>
            <a:cs typeface="+mn-cs"/>
          </a:endParaRPr>
        </a:p>
      </dsp:txBody>
      <dsp:txXfrm>
        <a:off x="2577712" y="3545010"/>
        <a:ext cx="1955953" cy="450713"/>
      </dsp:txXfrm>
    </dsp:sp>
    <dsp:sp modelId="{F0F62E1F-8929-43B7-BB6A-F1C6E74066B2}">
      <dsp:nvSpPr>
        <dsp:cNvPr id="0" name=""/>
        <dsp:cNvSpPr/>
      </dsp:nvSpPr>
      <dsp:spPr>
        <a:xfrm>
          <a:off x="2577712" y="4072660"/>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sysClr val="windowText" lastClr="000000"/>
              </a:solidFill>
              <a:latin typeface="Lato"/>
              <a:ea typeface="+mn-ea"/>
              <a:cs typeface="+mn-cs"/>
            </a:rPr>
            <a:t>Lack of uniform and appropriate shift system </a:t>
          </a:r>
          <a:endParaRPr lang="en-GB" sz="1100" kern="1200" dirty="0">
            <a:solidFill>
              <a:sysClr val="windowText" lastClr="000000"/>
            </a:solidFill>
            <a:latin typeface="Lato"/>
            <a:ea typeface="+mn-ea"/>
            <a:cs typeface="+mn-cs"/>
          </a:endParaRPr>
        </a:p>
      </dsp:txBody>
      <dsp:txXfrm>
        <a:off x="2577712" y="4072660"/>
        <a:ext cx="1955953" cy="450713"/>
      </dsp:txXfrm>
    </dsp:sp>
    <dsp:sp modelId="{3AE77575-B618-4540-A5D3-713314C05524}">
      <dsp:nvSpPr>
        <dsp:cNvPr id="0" name=""/>
        <dsp:cNvSpPr/>
      </dsp:nvSpPr>
      <dsp:spPr>
        <a:xfrm>
          <a:off x="2613381" y="4595980"/>
          <a:ext cx="1955953"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kern="1200" dirty="0" smtClean="0">
              <a:solidFill>
                <a:sysClr val="windowText" lastClr="000000"/>
              </a:solidFill>
              <a:latin typeface="Lato"/>
              <a:ea typeface="+mn-ea"/>
              <a:cs typeface="+mn-cs"/>
            </a:rPr>
            <a:t>Inadequate investment in integrated employee health and wellness</a:t>
          </a:r>
          <a:endParaRPr lang="en-GB" sz="1100" kern="1200" dirty="0">
            <a:solidFill>
              <a:sysClr val="windowText" lastClr="000000"/>
            </a:solidFill>
            <a:latin typeface="Lato"/>
            <a:ea typeface="+mn-ea"/>
            <a:cs typeface="+mn-cs"/>
          </a:endParaRPr>
        </a:p>
      </dsp:txBody>
      <dsp:txXfrm>
        <a:off x="2613381" y="4595980"/>
        <a:ext cx="1955953" cy="450713"/>
      </dsp:txXfrm>
    </dsp:sp>
    <dsp:sp modelId="{20A39BFD-AC94-4833-AAAF-948F81E52002}">
      <dsp:nvSpPr>
        <dsp:cNvPr id="0" name=""/>
        <dsp:cNvSpPr/>
      </dsp:nvSpPr>
      <dsp:spPr>
        <a:xfrm>
          <a:off x="4919463" y="886592"/>
          <a:ext cx="2196003" cy="551606"/>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b="1" kern="1200" dirty="0" smtClean="0">
              <a:solidFill>
                <a:sysClr val="windowText" lastClr="000000"/>
              </a:solidFill>
              <a:latin typeface="Lato"/>
              <a:ea typeface="+mn-ea"/>
              <a:cs typeface="+mn-cs"/>
            </a:rPr>
            <a:t>Direct cause:</a:t>
          </a:r>
        </a:p>
        <a:p>
          <a:pPr lvl="0" algn="ctr" defTabSz="622300">
            <a:lnSpc>
              <a:spcPct val="90000"/>
            </a:lnSpc>
            <a:spcBef>
              <a:spcPct val="0"/>
            </a:spcBef>
            <a:spcAft>
              <a:spcPct val="35000"/>
            </a:spcAft>
          </a:pPr>
          <a:r>
            <a:rPr lang="en-ZA" sz="1400" b="1" kern="1200" dirty="0" smtClean="0">
              <a:solidFill>
                <a:sysClr val="windowText" lastClr="000000"/>
              </a:solidFill>
              <a:latin typeface="Lato"/>
              <a:ea typeface="+mn-ea"/>
              <a:cs typeface="+mn-cs"/>
            </a:rPr>
            <a:t>Lowly skilled staff</a:t>
          </a:r>
          <a:endParaRPr lang="en-GB" sz="1400" b="1" kern="1200" dirty="0">
            <a:solidFill>
              <a:sysClr val="windowText" lastClr="000000"/>
            </a:solidFill>
            <a:latin typeface="Lato"/>
            <a:ea typeface="+mn-ea"/>
            <a:cs typeface="+mn-cs"/>
          </a:endParaRPr>
        </a:p>
      </dsp:txBody>
      <dsp:txXfrm>
        <a:off x="4919463" y="886592"/>
        <a:ext cx="2196003" cy="551606"/>
      </dsp:txXfrm>
    </dsp:sp>
    <dsp:sp modelId="{F0663EE5-7143-42B2-A6AE-F82AA7D88908}">
      <dsp:nvSpPr>
        <dsp:cNvPr id="0" name=""/>
        <dsp:cNvSpPr/>
      </dsp:nvSpPr>
      <dsp:spPr>
        <a:xfrm>
          <a:off x="5058557" y="1527813"/>
          <a:ext cx="2027076" cy="67488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Inadequate training and leadership development</a:t>
          </a:r>
          <a:endParaRPr lang="en-GB" sz="1200" kern="1200" dirty="0">
            <a:solidFill>
              <a:sysClr val="windowText" lastClr="000000"/>
            </a:solidFill>
            <a:latin typeface="Lato"/>
            <a:ea typeface="+mn-ea"/>
            <a:cs typeface="+mn-cs"/>
          </a:endParaRPr>
        </a:p>
      </dsp:txBody>
      <dsp:txXfrm>
        <a:off x="5058557" y="1527813"/>
        <a:ext cx="2027076" cy="674880"/>
      </dsp:txXfrm>
    </dsp:sp>
    <dsp:sp modelId="{679AFEB9-1304-4C46-92B9-D14908334993}">
      <dsp:nvSpPr>
        <dsp:cNvPr id="0" name=""/>
        <dsp:cNvSpPr/>
      </dsp:nvSpPr>
      <dsp:spPr>
        <a:xfrm>
          <a:off x="5075414" y="2310708"/>
          <a:ext cx="2027076" cy="639364"/>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Lack of talent management strategy</a:t>
          </a:r>
          <a:endParaRPr lang="en-GB" sz="1200" kern="1200" dirty="0">
            <a:solidFill>
              <a:sysClr val="windowText" lastClr="000000"/>
            </a:solidFill>
            <a:latin typeface="Lato"/>
            <a:ea typeface="+mn-ea"/>
            <a:cs typeface="+mn-cs"/>
          </a:endParaRPr>
        </a:p>
      </dsp:txBody>
      <dsp:txXfrm>
        <a:off x="5075414" y="2310708"/>
        <a:ext cx="2027076" cy="639364"/>
      </dsp:txXfrm>
    </dsp:sp>
    <dsp:sp modelId="{F47BE956-BC37-4E68-8509-835266EF4509}">
      <dsp:nvSpPr>
        <dsp:cNvPr id="0" name=""/>
        <dsp:cNvSpPr/>
      </dsp:nvSpPr>
      <dsp:spPr>
        <a:xfrm>
          <a:off x="5066869" y="3021618"/>
          <a:ext cx="2027076" cy="640130"/>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Inadequate </a:t>
          </a:r>
          <a:r>
            <a:rPr lang="en-ZA" sz="1200" kern="1200" dirty="0" err="1" smtClean="0">
              <a:solidFill>
                <a:sysClr val="windowText" lastClr="000000"/>
              </a:solidFill>
              <a:latin typeface="Lato"/>
              <a:ea typeface="+mn-ea"/>
              <a:cs typeface="+mn-cs"/>
            </a:rPr>
            <a:t>Covid</a:t>
          </a:r>
          <a:r>
            <a:rPr lang="en-ZA" sz="1200" kern="1200" dirty="0" smtClean="0">
              <a:solidFill>
                <a:sysClr val="windowText" lastClr="000000"/>
              </a:solidFill>
              <a:latin typeface="Lato"/>
              <a:ea typeface="+mn-ea"/>
              <a:cs typeface="+mn-cs"/>
            </a:rPr>
            <a:t> 19 awareness among officials</a:t>
          </a:r>
          <a:endParaRPr lang="en-GB" sz="1200" kern="1200" dirty="0">
            <a:solidFill>
              <a:sysClr val="windowText" lastClr="000000"/>
            </a:solidFill>
            <a:latin typeface="Lato"/>
            <a:ea typeface="+mn-ea"/>
            <a:cs typeface="+mn-cs"/>
          </a:endParaRPr>
        </a:p>
      </dsp:txBody>
      <dsp:txXfrm>
        <a:off x="5066869" y="3021618"/>
        <a:ext cx="2027076" cy="640130"/>
      </dsp:txXfrm>
    </dsp:sp>
    <dsp:sp modelId="{82EB6CB6-BC4E-4D4C-A10D-B3680BF7A7D2}">
      <dsp:nvSpPr>
        <dsp:cNvPr id="0" name=""/>
        <dsp:cNvSpPr/>
      </dsp:nvSpPr>
      <dsp:spPr>
        <a:xfrm>
          <a:off x="7413947" y="887615"/>
          <a:ext cx="2196003" cy="689506"/>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b="1" kern="1200" dirty="0" smtClean="0">
              <a:solidFill>
                <a:sysClr val="windowText" lastClr="000000"/>
              </a:solidFill>
              <a:latin typeface="Lato"/>
              <a:ea typeface="+mn-ea"/>
              <a:cs typeface="+mn-cs"/>
            </a:rPr>
            <a:t>Direct cause:</a:t>
          </a:r>
        </a:p>
        <a:p>
          <a:pPr lvl="0" algn="ctr" defTabSz="466725">
            <a:lnSpc>
              <a:spcPct val="90000"/>
            </a:lnSpc>
            <a:spcBef>
              <a:spcPct val="0"/>
            </a:spcBef>
            <a:spcAft>
              <a:spcPct val="35000"/>
            </a:spcAft>
          </a:pPr>
          <a:r>
            <a:rPr lang="en-ZA" sz="1050" b="1" kern="1200" dirty="0" smtClean="0">
              <a:solidFill>
                <a:sysClr val="windowText" lastClr="000000"/>
              </a:solidFill>
              <a:latin typeface="Lato"/>
              <a:ea typeface="+mn-ea"/>
              <a:cs typeface="+mn-cs"/>
            </a:rPr>
            <a:t>Insufficient budget allocations for programmes and projects </a:t>
          </a:r>
          <a:endParaRPr lang="en-GB" sz="1050" b="1" kern="1200" dirty="0" smtClean="0">
            <a:solidFill>
              <a:sysClr val="windowText" lastClr="000000"/>
            </a:solidFill>
            <a:latin typeface="Lato"/>
            <a:ea typeface="+mn-ea"/>
            <a:cs typeface="+mn-cs"/>
          </a:endParaRPr>
        </a:p>
      </dsp:txBody>
      <dsp:txXfrm>
        <a:off x="7413947" y="887615"/>
        <a:ext cx="2196003" cy="689506"/>
      </dsp:txXfrm>
    </dsp:sp>
    <dsp:sp modelId="{0750D890-C529-4565-BAB3-D4A4004C9728}">
      <dsp:nvSpPr>
        <dsp:cNvPr id="0" name=""/>
        <dsp:cNvSpPr/>
      </dsp:nvSpPr>
      <dsp:spPr>
        <a:xfrm>
          <a:off x="7485399" y="1670081"/>
          <a:ext cx="1955953" cy="56832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kern="1200" dirty="0" smtClean="0">
              <a:solidFill>
                <a:sysClr val="windowText" lastClr="000000"/>
              </a:solidFill>
              <a:latin typeface="Lato"/>
              <a:ea typeface="+mn-ea"/>
              <a:cs typeface="+mn-cs"/>
            </a:rPr>
            <a:t>Weak economic growth outlook</a:t>
          </a:r>
        </a:p>
      </dsp:txBody>
      <dsp:txXfrm>
        <a:off x="7485399" y="1670081"/>
        <a:ext cx="1955953" cy="568322"/>
      </dsp:txXfrm>
    </dsp:sp>
    <dsp:sp modelId="{6B26C1DA-C267-4CEE-A825-2498CB5CCDE4}">
      <dsp:nvSpPr>
        <dsp:cNvPr id="0" name=""/>
        <dsp:cNvSpPr/>
      </dsp:nvSpPr>
      <dsp:spPr>
        <a:xfrm>
          <a:off x="7531443" y="2310279"/>
          <a:ext cx="1955953" cy="56832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Inadequate spending capacity in some expenditure line items</a:t>
          </a:r>
          <a:endParaRPr lang="en-GB" sz="1050" kern="1200" dirty="0" smtClean="0">
            <a:solidFill>
              <a:sysClr val="windowText" lastClr="000000"/>
            </a:solidFill>
            <a:latin typeface="Lato"/>
            <a:ea typeface="+mn-ea"/>
            <a:cs typeface="+mn-cs"/>
          </a:endParaRPr>
        </a:p>
      </dsp:txBody>
      <dsp:txXfrm>
        <a:off x="7531443" y="2310279"/>
        <a:ext cx="1955953" cy="568322"/>
      </dsp:txXfrm>
    </dsp:sp>
    <dsp:sp modelId="{9E15D32B-A159-4B43-91E5-E167856E33BF}">
      <dsp:nvSpPr>
        <dsp:cNvPr id="0" name=""/>
        <dsp:cNvSpPr/>
      </dsp:nvSpPr>
      <dsp:spPr>
        <a:xfrm>
          <a:off x="7531443" y="2950482"/>
          <a:ext cx="1955953" cy="568322"/>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Inadequate capital investment in production workshops and agriculture</a:t>
          </a:r>
          <a:endParaRPr lang="en-GB" sz="1050" kern="1200" dirty="0">
            <a:solidFill>
              <a:sysClr val="windowText" lastClr="000000"/>
            </a:solidFill>
            <a:latin typeface="Lato"/>
            <a:ea typeface="+mn-ea"/>
            <a:cs typeface="+mn-cs"/>
          </a:endParaRPr>
        </a:p>
      </dsp:txBody>
      <dsp:txXfrm>
        <a:off x="7531443" y="2950482"/>
        <a:ext cx="1955953" cy="568322"/>
      </dsp:txXfrm>
    </dsp:sp>
    <dsp:sp modelId="{C9A66C12-5161-47AC-809C-85074A4E7350}">
      <dsp:nvSpPr>
        <dsp:cNvPr id="0" name=""/>
        <dsp:cNvSpPr/>
      </dsp:nvSpPr>
      <dsp:spPr>
        <a:xfrm>
          <a:off x="9729732" y="887615"/>
          <a:ext cx="2196003" cy="606408"/>
        </a:xfrm>
        <a:prstGeom prst="rect">
          <a:avLst/>
        </a:prstGeom>
        <a:solidFill>
          <a:srgbClr val="D9EAD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en-ZA" sz="1100" b="1" kern="1200" dirty="0" smtClean="0">
              <a:solidFill>
                <a:sysClr val="windowText" lastClr="000000"/>
              </a:solidFill>
              <a:latin typeface="Lato"/>
              <a:ea typeface="+mn-ea"/>
              <a:cs typeface="+mn-cs"/>
            </a:rPr>
            <a:t>Direct cause:</a:t>
          </a:r>
        </a:p>
        <a:p>
          <a:pPr lvl="0" algn="ctr" defTabSz="488950">
            <a:lnSpc>
              <a:spcPct val="90000"/>
            </a:lnSpc>
            <a:spcBef>
              <a:spcPct val="0"/>
            </a:spcBef>
            <a:spcAft>
              <a:spcPct val="35000"/>
            </a:spcAft>
          </a:pPr>
          <a:r>
            <a:rPr lang="en-ZA" sz="1100" b="1" kern="1200" dirty="0" smtClean="0">
              <a:solidFill>
                <a:sysClr val="windowText" lastClr="000000"/>
              </a:solidFill>
              <a:latin typeface="Lato"/>
              <a:ea typeface="+mn-ea"/>
              <a:cs typeface="+mn-cs"/>
            </a:rPr>
            <a:t>Non compliance to key legislation, prescripts and policies </a:t>
          </a:r>
        </a:p>
      </dsp:txBody>
      <dsp:txXfrm>
        <a:off x="9729732" y="887615"/>
        <a:ext cx="2196003" cy="606408"/>
      </dsp:txXfrm>
    </dsp:sp>
    <dsp:sp modelId="{C6932264-56D3-4DF9-8D2C-021A743567DD}">
      <dsp:nvSpPr>
        <dsp:cNvPr id="0" name=""/>
        <dsp:cNvSpPr/>
      </dsp:nvSpPr>
      <dsp:spPr>
        <a:xfrm>
          <a:off x="9902486" y="1561013"/>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ysClr val="windowText" lastClr="000000"/>
              </a:solidFill>
              <a:latin typeface="Lato"/>
              <a:ea typeface="+mn-ea"/>
              <a:cs typeface="+mn-cs"/>
            </a:rPr>
            <a:t>Unethical conduct</a:t>
          </a:r>
        </a:p>
      </dsp:txBody>
      <dsp:txXfrm>
        <a:off x="9902486" y="1561013"/>
        <a:ext cx="1794480" cy="450713"/>
      </dsp:txXfrm>
    </dsp:sp>
    <dsp:sp modelId="{699B182D-F671-424A-9A63-23C7C7B4D8F7}">
      <dsp:nvSpPr>
        <dsp:cNvPr id="0" name=""/>
        <dsp:cNvSpPr/>
      </dsp:nvSpPr>
      <dsp:spPr>
        <a:xfrm>
          <a:off x="9905794" y="2065609"/>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Inadequate compliance monitoring coverage</a:t>
          </a:r>
        </a:p>
      </dsp:txBody>
      <dsp:txXfrm>
        <a:off x="9905794" y="2065609"/>
        <a:ext cx="1794480" cy="450713"/>
      </dsp:txXfrm>
    </dsp:sp>
    <dsp:sp modelId="{F470B49C-FBB9-45ED-A78A-B1F71A6D76AD}">
      <dsp:nvSpPr>
        <dsp:cNvPr id="0" name=""/>
        <dsp:cNvSpPr/>
      </dsp:nvSpPr>
      <dsp:spPr>
        <a:xfrm>
          <a:off x="9905794" y="2583322"/>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GB" sz="1200" kern="1200" dirty="0" smtClean="0">
              <a:solidFill>
                <a:sysClr val="windowText" lastClr="000000"/>
              </a:solidFill>
              <a:latin typeface="Lato"/>
              <a:ea typeface="+mn-ea"/>
              <a:cs typeface="+mn-cs"/>
            </a:rPr>
            <a:t>Inadequate / Assurance gap on compliance </a:t>
          </a:r>
        </a:p>
      </dsp:txBody>
      <dsp:txXfrm>
        <a:off x="9905794" y="2583322"/>
        <a:ext cx="1794480" cy="450713"/>
      </dsp:txXfrm>
    </dsp:sp>
    <dsp:sp modelId="{20731877-7187-429D-B3A8-7DECDA5070FE}">
      <dsp:nvSpPr>
        <dsp:cNvPr id="0" name=""/>
        <dsp:cNvSpPr/>
      </dsp:nvSpPr>
      <dsp:spPr>
        <a:xfrm>
          <a:off x="9905794" y="3118653"/>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Lack of segregation of duties and non-compliance to procurement prescripts</a:t>
          </a:r>
        </a:p>
      </dsp:txBody>
      <dsp:txXfrm>
        <a:off x="9905794" y="3118653"/>
        <a:ext cx="1794480" cy="450713"/>
      </dsp:txXfrm>
    </dsp:sp>
    <dsp:sp modelId="{1A8B11D2-3342-43F5-B281-F26FA4BDE16F}">
      <dsp:nvSpPr>
        <dsp:cNvPr id="0" name=""/>
        <dsp:cNvSpPr/>
      </dsp:nvSpPr>
      <dsp:spPr>
        <a:xfrm>
          <a:off x="9905794" y="3649557"/>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Poor planning (demand management)</a:t>
          </a:r>
        </a:p>
      </dsp:txBody>
      <dsp:txXfrm>
        <a:off x="9905794" y="3649557"/>
        <a:ext cx="1794480" cy="450713"/>
      </dsp:txXfrm>
    </dsp:sp>
    <dsp:sp modelId="{043824C3-24DA-4A30-A957-CD48C867E7EB}">
      <dsp:nvSpPr>
        <dsp:cNvPr id="0" name=""/>
        <dsp:cNvSpPr/>
      </dsp:nvSpPr>
      <dsp:spPr>
        <a:xfrm>
          <a:off x="9905794" y="4198008"/>
          <a:ext cx="1794480" cy="450713"/>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Delays in investigations, inadequate consequence management</a:t>
          </a:r>
        </a:p>
      </dsp:txBody>
      <dsp:txXfrm>
        <a:off x="9905794" y="4198008"/>
        <a:ext cx="1794480" cy="450713"/>
      </dsp:txXfrm>
    </dsp:sp>
    <dsp:sp modelId="{93FCE660-DDC3-4AB5-B916-99CEE63A83BE}">
      <dsp:nvSpPr>
        <dsp:cNvPr id="0" name=""/>
        <dsp:cNvSpPr/>
      </dsp:nvSpPr>
      <dsp:spPr>
        <a:xfrm>
          <a:off x="9905794" y="4720142"/>
          <a:ext cx="1794480" cy="464401"/>
        </a:xfrm>
        <a:prstGeom prst="rect">
          <a:avLst/>
        </a:prstGeom>
        <a:solidFill>
          <a:srgbClr val="D6C29E"/>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Lack of contract management at Regional/ Management Area level</a:t>
          </a:r>
        </a:p>
      </dsp:txBody>
      <dsp:txXfrm>
        <a:off x="9905794" y="4720142"/>
        <a:ext cx="1794480" cy="4644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EA5480-D883-4F10-85FC-3C1C11868AAB}">
      <dsp:nvSpPr>
        <dsp:cNvPr id="0" name=""/>
        <dsp:cNvSpPr/>
      </dsp:nvSpPr>
      <dsp:spPr>
        <a:xfrm>
          <a:off x="9133981" y="1197505"/>
          <a:ext cx="91440" cy="4126687"/>
        </a:xfrm>
        <a:custGeom>
          <a:avLst/>
          <a:gdLst/>
          <a:ahLst/>
          <a:cxnLst/>
          <a:rect l="0" t="0" r="0" b="0"/>
          <a:pathLst>
            <a:path>
              <a:moveTo>
                <a:pt x="193244" y="0"/>
              </a:moveTo>
              <a:lnTo>
                <a:pt x="0" y="482420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E5F5FC3-2FC6-4461-ABAA-F66D65415C6E}">
      <dsp:nvSpPr>
        <dsp:cNvPr id="0" name=""/>
        <dsp:cNvSpPr/>
      </dsp:nvSpPr>
      <dsp:spPr>
        <a:xfrm>
          <a:off x="9147804" y="1197505"/>
          <a:ext cx="91440" cy="3776079"/>
        </a:xfrm>
        <a:custGeom>
          <a:avLst/>
          <a:gdLst/>
          <a:ahLst/>
          <a:cxnLst/>
          <a:rect l="0" t="0" r="0" b="0"/>
          <a:pathLst>
            <a:path>
              <a:moveTo>
                <a:pt x="177124" y="0"/>
              </a:moveTo>
              <a:lnTo>
                <a:pt x="0" y="441534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3F05970-CE5A-4B8F-B2ED-821CE72425D7}">
      <dsp:nvSpPr>
        <dsp:cNvPr id="0" name=""/>
        <dsp:cNvSpPr/>
      </dsp:nvSpPr>
      <dsp:spPr>
        <a:xfrm>
          <a:off x="9157578" y="1197505"/>
          <a:ext cx="91440" cy="3355415"/>
        </a:xfrm>
        <a:custGeom>
          <a:avLst/>
          <a:gdLst/>
          <a:ahLst/>
          <a:cxnLst/>
          <a:rect l="0" t="0" r="0" b="0"/>
          <a:pathLst>
            <a:path>
              <a:moveTo>
                <a:pt x="165726" y="0"/>
              </a:moveTo>
              <a:lnTo>
                <a:pt x="0" y="392478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A60D6A16-F6F3-469C-998A-AD9746314B50}">
      <dsp:nvSpPr>
        <dsp:cNvPr id="0" name=""/>
        <dsp:cNvSpPr/>
      </dsp:nvSpPr>
      <dsp:spPr>
        <a:xfrm>
          <a:off x="9165677" y="1197505"/>
          <a:ext cx="91440" cy="2726751"/>
        </a:xfrm>
        <a:custGeom>
          <a:avLst/>
          <a:gdLst/>
          <a:ahLst/>
          <a:cxnLst/>
          <a:rect l="0" t="0" r="0" b="0"/>
          <a:pathLst>
            <a:path>
              <a:moveTo>
                <a:pt x="156281" y="0"/>
              </a:moveTo>
              <a:lnTo>
                <a:pt x="0" y="319167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4C665A08-AC56-45D8-8D87-B1C7BBA58F7E}">
      <dsp:nvSpPr>
        <dsp:cNvPr id="0" name=""/>
        <dsp:cNvSpPr/>
      </dsp:nvSpPr>
      <dsp:spPr>
        <a:xfrm>
          <a:off x="9160805" y="1197505"/>
          <a:ext cx="91440" cy="1906602"/>
        </a:xfrm>
        <a:custGeom>
          <a:avLst/>
          <a:gdLst/>
          <a:ahLst/>
          <a:cxnLst/>
          <a:rect l="0" t="0" r="0" b="0"/>
          <a:pathLst>
            <a:path>
              <a:moveTo>
                <a:pt x="161963" y="0"/>
              </a:moveTo>
              <a:lnTo>
                <a:pt x="0" y="223526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B1825C6-1AEF-462F-A1CD-79B8796D71BF}">
      <dsp:nvSpPr>
        <dsp:cNvPr id="0" name=""/>
        <dsp:cNvSpPr/>
      </dsp:nvSpPr>
      <dsp:spPr>
        <a:xfrm>
          <a:off x="9158961" y="1197505"/>
          <a:ext cx="91440" cy="1072076"/>
        </a:xfrm>
        <a:custGeom>
          <a:avLst/>
          <a:gdLst/>
          <a:ahLst/>
          <a:cxnLst/>
          <a:rect l="0" t="0" r="0" b="0"/>
          <a:pathLst>
            <a:path>
              <a:moveTo>
                <a:pt x="164113" y="0"/>
              </a:moveTo>
              <a:lnTo>
                <a:pt x="0" y="126208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0964CB70-41C0-4F29-B83E-AE1B76280125}">
      <dsp:nvSpPr>
        <dsp:cNvPr id="0" name=""/>
        <dsp:cNvSpPr/>
      </dsp:nvSpPr>
      <dsp:spPr>
        <a:xfrm>
          <a:off x="9157502" y="1197505"/>
          <a:ext cx="91440" cy="351026"/>
        </a:xfrm>
        <a:custGeom>
          <a:avLst/>
          <a:gdLst/>
          <a:ahLst/>
          <a:cxnLst/>
          <a:rect l="0" t="0" r="0" b="0"/>
          <a:pathLst>
            <a:path>
              <a:moveTo>
                <a:pt x="165814" y="0"/>
              </a:moveTo>
              <a:lnTo>
                <a:pt x="0" y="42123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2E9BC89-FDF8-438D-A60C-DC48E0884547}">
      <dsp:nvSpPr>
        <dsp:cNvPr id="0" name=""/>
        <dsp:cNvSpPr/>
      </dsp:nvSpPr>
      <dsp:spPr>
        <a:xfrm>
          <a:off x="5976543" y="661670"/>
          <a:ext cx="4436957" cy="91440"/>
        </a:xfrm>
        <a:custGeom>
          <a:avLst/>
          <a:gdLst/>
          <a:ahLst/>
          <a:cxnLst/>
          <a:rect l="0" t="0" r="0" b="0"/>
          <a:pathLst>
            <a:path>
              <a:moveTo>
                <a:pt x="0" y="0"/>
              </a:moveTo>
              <a:lnTo>
                <a:pt x="0" y="59506"/>
              </a:lnTo>
              <a:lnTo>
                <a:pt x="4383927" y="59506"/>
              </a:lnTo>
              <a:lnTo>
                <a:pt x="4383927" y="13095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FC2A0575-63FD-4437-9846-05FE755CCA4D}">
      <dsp:nvSpPr>
        <dsp:cNvPr id="0" name=""/>
        <dsp:cNvSpPr/>
      </dsp:nvSpPr>
      <dsp:spPr>
        <a:xfrm>
          <a:off x="6075487" y="1197505"/>
          <a:ext cx="204170" cy="3167010"/>
        </a:xfrm>
        <a:custGeom>
          <a:avLst/>
          <a:gdLst/>
          <a:ahLst/>
          <a:cxnLst/>
          <a:rect l="0" t="0" r="0" b="0"/>
          <a:pathLst>
            <a:path>
              <a:moveTo>
                <a:pt x="182840" y="0"/>
              </a:moveTo>
              <a:lnTo>
                <a:pt x="0" y="371696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EE41A7C-9A60-4601-9E7F-353EBE225BC6}">
      <dsp:nvSpPr>
        <dsp:cNvPr id="0" name=""/>
        <dsp:cNvSpPr/>
      </dsp:nvSpPr>
      <dsp:spPr>
        <a:xfrm>
          <a:off x="6061803" y="1197505"/>
          <a:ext cx="217853" cy="2118259"/>
        </a:xfrm>
        <a:custGeom>
          <a:avLst/>
          <a:gdLst/>
          <a:ahLst/>
          <a:cxnLst/>
          <a:rect l="0" t="0" r="0" b="0"/>
          <a:pathLst>
            <a:path>
              <a:moveTo>
                <a:pt x="198796" y="0"/>
              </a:moveTo>
              <a:lnTo>
                <a:pt x="0" y="249397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4EA762B-4AE4-49BB-ACA9-F208C93443F3}">
      <dsp:nvSpPr>
        <dsp:cNvPr id="0" name=""/>
        <dsp:cNvSpPr/>
      </dsp:nvSpPr>
      <dsp:spPr>
        <a:xfrm>
          <a:off x="6010839" y="1197505"/>
          <a:ext cx="268817" cy="1049678"/>
        </a:xfrm>
        <a:custGeom>
          <a:avLst/>
          <a:gdLst/>
          <a:ahLst/>
          <a:cxnLst/>
          <a:rect l="0" t="0" r="0" b="0"/>
          <a:pathLst>
            <a:path>
              <a:moveTo>
                <a:pt x="258228" y="0"/>
              </a:moveTo>
              <a:lnTo>
                <a:pt x="0" y="124785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A3AC0F8-D2DD-45A4-986D-8A7CA3FCA483}">
      <dsp:nvSpPr>
        <dsp:cNvPr id="0" name=""/>
        <dsp:cNvSpPr/>
      </dsp:nvSpPr>
      <dsp:spPr>
        <a:xfrm>
          <a:off x="6024523" y="1197505"/>
          <a:ext cx="255134" cy="322390"/>
        </a:xfrm>
        <a:custGeom>
          <a:avLst/>
          <a:gdLst/>
          <a:ahLst/>
          <a:cxnLst/>
          <a:rect l="0" t="0" r="0" b="0"/>
          <a:pathLst>
            <a:path>
              <a:moveTo>
                <a:pt x="242271" y="0"/>
              </a:moveTo>
              <a:lnTo>
                <a:pt x="0" y="39972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748B4E46-BCEA-4B90-9F45-8240389CE2F0}">
      <dsp:nvSpPr>
        <dsp:cNvPr id="0" name=""/>
        <dsp:cNvSpPr/>
      </dsp:nvSpPr>
      <dsp:spPr>
        <a:xfrm>
          <a:off x="5976543" y="661670"/>
          <a:ext cx="1446155" cy="91440"/>
        </a:xfrm>
        <a:custGeom>
          <a:avLst/>
          <a:gdLst/>
          <a:ahLst/>
          <a:cxnLst/>
          <a:rect l="0" t="0" r="0" b="0"/>
          <a:pathLst>
            <a:path>
              <a:moveTo>
                <a:pt x="0" y="0"/>
              </a:moveTo>
              <a:lnTo>
                <a:pt x="0" y="59506"/>
              </a:lnTo>
              <a:lnTo>
                <a:pt x="1478935" y="59506"/>
              </a:lnTo>
              <a:lnTo>
                <a:pt x="1478935" y="13095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23EDB892-9EB4-4D68-BBE5-B200E79A66A9}">
      <dsp:nvSpPr>
        <dsp:cNvPr id="0" name=""/>
        <dsp:cNvSpPr/>
      </dsp:nvSpPr>
      <dsp:spPr>
        <a:xfrm>
          <a:off x="2986841" y="1190150"/>
          <a:ext cx="264890" cy="4364548"/>
        </a:xfrm>
        <a:custGeom>
          <a:avLst/>
          <a:gdLst/>
          <a:ahLst/>
          <a:cxnLst/>
          <a:rect l="0" t="0" r="0" b="0"/>
          <a:pathLst>
            <a:path>
              <a:moveTo>
                <a:pt x="158173" y="0"/>
              </a:moveTo>
              <a:lnTo>
                <a:pt x="0" y="5385340"/>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18432C2-F5A3-442A-9977-38AEE04F13DD}">
      <dsp:nvSpPr>
        <dsp:cNvPr id="0" name=""/>
        <dsp:cNvSpPr/>
      </dsp:nvSpPr>
      <dsp:spPr>
        <a:xfrm>
          <a:off x="3005041" y="1190150"/>
          <a:ext cx="246691" cy="4030270"/>
        </a:xfrm>
        <a:custGeom>
          <a:avLst/>
          <a:gdLst/>
          <a:ahLst/>
          <a:cxnLst/>
          <a:rect l="0" t="0" r="0" b="0"/>
          <a:pathLst>
            <a:path>
              <a:moveTo>
                <a:pt x="172986" y="0"/>
              </a:moveTo>
              <a:lnTo>
                <a:pt x="0" y="485441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FAD3576-45D6-41B4-8CB0-E188125E4354}">
      <dsp:nvSpPr>
        <dsp:cNvPr id="0" name=""/>
        <dsp:cNvSpPr/>
      </dsp:nvSpPr>
      <dsp:spPr>
        <a:xfrm>
          <a:off x="2990984" y="1190150"/>
          <a:ext cx="260747" cy="3584406"/>
        </a:xfrm>
        <a:custGeom>
          <a:avLst/>
          <a:gdLst/>
          <a:ahLst/>
          <a:cxnLst/>
          <a:rect l="0" t="0" r="0" b="0"/>
          <a:pathLst>
            <a:path>
              <a:moveTo>
                <a:pt x="189379" y="0"/>
              </a:moveTo>
              <a:lnTo>
                <a:pt x="0" y="4298811"/>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DD6B248-4CEB-4654-9033-ED2BD107A221}">
      <dsp:nvSpPr>
        <dsp:cNvPr id="0" name=""/>
        <dsp:cNvSpPr/>
      </dsp:nvSpPr>
      <dsp:spPr>
        <a:xfrm>
          <a:off x="2977026" y="1190150"/>
          <a:ext cx="274705" cy="3160567"/>
        </a:xfrm>
        <a:custGeom>
          <a:avLst/>
          <a:gdLst/>
          <a:ahLst/>
          <a:cxnLst/>
          <a:rect l="0" t="0" r="0" b="0"/>
          <a:pathLst>
            <a:path>
              <a:moveTo>
                <a:pt x="205655" y="0"/>
              </a:moveTo>
              <a:lnTo>
                <a:pt x="0" y="379266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36BF8A7A-9D89-41C0-8B99-0645BE0B5C9B}">
      <dsp:nvSpPr>
        <dsp:cNvPr id="0" name=""/>
        <dsp:cNvSpPr/>
      </dsp:nvSpPr>
      <dsp:spPr>
        <a:xfrm>
          <a:off x="2979541" y="1190150"/>
          <a:ext cx="272190" cy="2720599"/>
        </a:xfrm>
        <a:custGeom>
          <a:avLst/>
          <a:gdLst/>
          <a:ahLst/>
          <a:cxnLst/>
          <a:rect l="0" t="0" r="0" b="0"/>
          <a:pathLst>
            <a:path>
              <a:moveTo>
                <a:pt x="202723" y="0"/>
              </a:moveTo>
              <a:lnTo>
                <a:pt x="0" y="3267712"/>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6B9BB72C-C16E-4812-A426-8736B0F4D50D}">
      <dsp:nvSpPr>
        <dsp:cNvPr id="0" name=""/>
        <dsp:cNvSpPr/>
      </dsp:nvSpPr>
      <dsp:spPr>
        <a:xfrm>
          <a:off x="2979541" y="1190150"/>
          <a:ext cx="272190" cy="2284675"/>
        </a:xfrm>
        <a:custGeom>
          <a:avLst/>
          <a:gdLst/>
          <a:ahLst/>
          <a:cxnLst/>
          <a:rect l="0" t="0" r="0" b="0"/>
          <a:pathLst>
            <a:path>
              <a:moveTo>
                <a:pt x="202723" y="0"/>
              </a:moveTo>
              <a:lnTo>
                <a:pt x="0" y="274747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B743BF5E-8E74-4AA4-AF77-FEB591727596}">
      <dsp:nvSpPr>
        <dsp:cNvPr id="0" name=""/>
        <dsp:cNvSpPr/>
      </dsp:nvSpPr>
      <dsp:spPr>
        <a:xfrm>
          <a:off x="2979541" y="1190150"/>
          <a:ext cx="272190" cy="1729349"/>
        </a:xfrm>
        <a:custGeom>
          <a:avLst/>
          <a:gdLst/>
          <a:ahLst/>
          <a:cxnLst/>
          <a:rect l="0" t="0" r="0" b="0"/>
          <a:pathLst>
            <a:path>
              <a:moveTo>
                <a:pt x="202723" y="0"/>
              </a:moveTo>
              <a:lnTo>
                <a:pt x="0" y="2076109"/>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F2A5BDB-731B-4743-8645-30CC461A515D}">
      <dsp:nvSpPr>
        <dsp:cNvPr id="0" name=""/>
        <dsp:cNvSpPr/>
      </dsp:nvSpPr>
      <dsp:spPr>
        <a:xfrm>
          <a:off x="2979541" y="1190150"/>
          <a:ext cx="272190" cy="1136000"/>
        </a:xfrm>
        <a:custGeom>
          <a:avLst/>
          <a:gdLst/>
          <a:ahLst/>
          <a:cxnLst/>
          <a:rect l="0" t="0" r="0" b="0"/>
          <a:pathLst>
            <a:path>
              <a:moveTo>
                <a:pt x="202723" y="0"/>
              </a:moveTo>
              <a:lnTo>
                <a:pt x="0" y="134851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E8D8668-96E8-4FBC-8F48-E04927E8AF75}">
      <dsp:nvSpPr>
        <dsp:cNvPr id="0" name=""/>
        <dsp:cNvSpPr/>
      </dsp:nvSpPr>
      <dsp:spPr>
        <a:xfrm>
          <a:off x="2979541" y="1190150"/>
          <a:ext cx="272190" cy="676180"/>
        </a:xfrm>
        <a:custGeom>
          <a:avLst/>
          <a:gdLst/>
          <a:ahLst/>
          <a:cxnLst/>
          <a:rect l="0" t="0" r="0" b="0"/>
          <a:pathLst>
            <a:path>
              <a:moveTo>
                <a:pt x="202723" y="0"/>
              </a:moveTo>
              <a:lnTo>
                <a:pt x="0" y="78852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C981F861-5079-4644-BDF7-785B038AC3AD}">
      <dsp:nvSpPr>
        <dsp:cNvPr id="0" name=""/>
        <dsp:cNvSpPr/>
      </dsp:nvSpPr>
      <dsp:spPr>
        <a:xfrm>
          <a:off x="2967346" y="1190150"/>
          <a:ext cx="284386" cy="241228"/>
        </a:xfrm>
        <a:custGeom>
          <a:avLst/>
          <a:gdLst/>
          <a:ahLst/>
          <a:cxnLst/>
          <a:rect l="0" t="0" r="0" b="0"/>
          <a:pathLst>
            <a:path>
              <a:moveTo>
                <a:pt x="216944" y="0"/>
              </a:moveTo>
              <a:lnTo>
                <a:pt x="0" y="28130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16194040-5E60-434D-BF92-83FD3BBE53B9}">
      <dsp:nvSpPr>
        <dsp:cNvPr id="0" name=""/>
        <dsp:cNvSpPr/>
      </dsp:nvSpPr>
      <dsp:spPr>
        <a:xfrm>
          <a:off x="4394773" y="661670"/>
          <a:ext cx="1581770" cy="91440"/>
        </a:xfrm>
        <a:custGeom>
          <a:avLst/>
          <a:gdLst/>
          <a:ahLst/>
          <a:cxnLst/>
          <a:rect l="0" t="0" r="0" b="0"/>
          <a:pathLst>
            <a:path>
              <a:moveTo>
                <a:pt x="1469347" y="0"/>
              </a:moveTo>
              <a:lnTo>
                <a:pt x="1469347" y="50929"/>
              </a:lnTo>
              <a:lnTo>
                <a:pt x="0" y="50929"/>
              </a:lnTo>
              <a:lnTo>
                <a:pt x="0" y="12237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B7A51C9-2A3B-4023-940F-7A577F808009}">
      <dsp:nvSpPr>
        <dsp:cNvPr id="0" name=""/>
        <dsp:cNvSpPr/>
      </dsp:nvSpPr>
      <dsp:spPr>
        <a:xfrm>
          <a:off x="168748" y="1192968"/>
          <a:ext cx="117011" cy="3504813"/>
        </a:xfrm>
        <a:custGeom>
          <a:avLst/>
          <a:gdLst/>
          <a:ahLst/>
          <a:cxnLst/>
          <a:rect l="0" t="0" r="0" b="0"/>
          <a:pathLst>
            <a:path>
              <a:moveTo>
                <a:pt x="185316" y="0"/>
              </a:moveTo>
              <a:lnTo>
                <a:pt x="0" y="4099005"/>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2C6E8CA-49E0-4ED9-8590-8C6DE8D745C9}">
      <dsp:nvSpPr>
        <dsp:cNvPr id="0" name=""/>
        <dsp:cNvSpPr/>
      </dsp:nvSpPr>
      <dsp:spPr>
        <a:xfrm>
          <a:off x="168748" y="1192968"/>
          <a:ext cx="117011" cy="2810056"/>
        </a:xfrm>
        <a:custGeom>
          <a:avLst/>
          <a:gdLst/>
          <a:ahLst/>
          <a:cxnLst/>
          <a:rect l="0" t="0" r="0" b="0"/>
          <a:pathLst>
            <a:path>
              <a:moveTo>
                <a:pt x="185316" y="0"/>
              </a:moveTo>
              <a:lnTo>
                <a:pt x="0" y="3288818"/>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59553AB9-15C6-41A5-86D0-0A8B70218E8B}">
      <dsp:nvSpPr>
        <dsp:cNvPr id="0" name=""/>
        <dsp:cNvSpPr/>
      </dsp:nvSpPr>
      <dsp:spPr>
        <a:xfrm>
          <a:off x="168748" y="1192968"/>
          <a:ext cx="117011" cy="2197085"/>
        </a:xfrm>
        <a:custGeom>
          <a:avLst/>
          <a:gdLst/>
          <a:ahLst/>
          <a:cxnLst/>
          <a:rect l="0" t="0" r="0" b="0"/>
          <a:pathLst>
            <a:path>
              <a:moveTo>
                <a:pt x="185316" y="0"/>
              </a:moveTo>
              <a:lnTo>
                <a:pt x="0" y="257400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8912F301-E950-4E0C-B146-0A5185F9A67F}">
      <dsp:nvSpPr>
        <dsp:cNvPr id="0" name=""/>
        <dsp:cNvSpPr/>
      </dsp:nvSpPr>
      <dsp:spPr>
        <a:xfrm>
          <a:off x="168748" y="1192968"/>
          <a:ext cx="117011" cy="1597794"/>
        </a:xfrm>
        <a:custGeom>
          <a:avLst/>
          <a:gdLst/>
          <a:ahLst/>
          <a:cxnLst/>
          <a:rect l="0" t="0" r="0" b="0"/>
          <a:pathLst>
            <a:path>
              <a:moveTo>
                <a:pt x="185316" y="0"/>
              </a:moveTo>
              <a:lnTo>
                <a:pt x="0" y="1875146"/>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E69AAF95-112D-4CA3-8B25-A2C1AA2BFB20}">
      <dsp:nvSpPr>
        <dsp:cNvPr id="0" name=""/>
        <dsp:cNvSpPr/>
      </dsp:nvSpPr>
      <dsp:spPr>
        <a:xfrm>
          <a:off x="168748" y="1192968"/>
          <a:ext cx="117011" cy="1033980"/>
        </a:xfrm>
        <a:custGeom>
          <a:avLst/>
          <a:gdLst/>
          <a:ahLst/>
          <a:cxnLst/>
          <a:rect l="0" t="0" r="0" b="0"/>
          <a:pathLst>
            <a:path>
              <a:moveTo>
                <a:pt x="185316" y="0"/>
              </a:moveTo>
              <a:lnTo>
                <a:pt x="0" y="1217657"/>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1E6F7728-0201-4A15-AC95-CC7E377B1A72}">
      <dsp:nvSpPr>
        <dsp:cNvPr id="0" name=""/>
        <dsp:cNvSpPr/>
      </dsp:nvSpPr>
      <dsp:spPr>
        <a:xfrm>
          <a:off x="158834" y="1192968"/>
          <a:ext cx="126925" cy="399277"/>
        </a:xfrm>
        <a:custGeom>
          <a:avLst/>
          <a:gdLst/>
          <a:ahLst/>
          <a:cxnLst/>
          <a:rect l="0" t="0" r="0" b="0"/>
          <a:pathLst>
            <a:path>
              <a:moveTo>
                <a:pt x="196878" y="0"/>
              </a:moveTo>
              <a:lnTo>
                <a:pt x="0" y="477503"/>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D8734DF8-E79C-44E6-9764-7B2B826E2D1C}">
      <dsp:nvSpPr>
        <dsp:cNvPr id="0" name=""/>
        <dsp:cNvSpPr/>
      </dsp:nvSpPr>
      <dsp:spPr>
        <a:xfrm>
          <a:off x="1428801" y="661670"/>
          <a:ext cx="4547742" cy="91440"/>
        </a:xfrm>
        <a:custGeom>
          <a:avLst/>
          <a:gdLst/>
          <a:ahLst/>
          <a:cxnLst/>
          <a:rect l="0" t="0" r="0" b="0"/>
          <a:pathLst>
            <a:path>
              <a:moveTo>
                <a:pt x="4383927" y="0"/>
              </a:moveTo>
              <a:lnTo>
                <a:pt x="4383927" y="54215"/>
              </a:lnTo>
              <a:lnTo>
                <a:pt x="0" y="54215"/>
              </a:lnTo>
              <a:lnTo>
                <a:pt x="0" y="125664"/>
              </a:lnTo>
            </a:path>
          </a:pathLst>
        </a:custGeom>
        <a:noFill/>
        <a:ln w="12700" cap="flat" cmpd="sng" algn="ctr">
          <a:noFill/>
          <a:prstDash val="solid"/>
          <a:miter lim="800000"/>
        </a:ln>
        <a:effectLst/>
      </dsp:spPr>
      <dsp:style>
        <a:lnRef idx="2">
          <a:scrgbClr r="0" g="0" b="0"/>
        </a:lnRef>
        <a:fillRef idx="0">
          <a:scrgbClr r="0" g="0" b="0"/>
        </a:fillRef>
        <a:effectRef idx="0">
          <a:scrgbClr r="0" g="0" b="0"/>
        </a:effectRef>
        <a:fontRef idx="minor"/>
      </dsp:style>
    </dsp:sp>
    <dsp:sp modelId="{4647B7EA-AC87-4476-9537-D181D7693287}">
      <dsp:nvSpPr>
        <dsp:cNvPr id="0" name=""/>
        <dsp:cNvSpPr/>
      </dsp:nvSpPr>
      <dsp:spPr>
        <a:xfrm>
          <a:off x="157013" y="54760"/>
          <a:ext cx="11639059" cy="652629"/>
        </a:xfrm>
        <a:prstGeom prst="rect">
          <a:avLst/>
        </a:prstGeom>
        <a:solidFill>
          <a:srgbClr val="679F81"/>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ZA" sz="2000" b="1" kern="1200" dirty="0" smtClean="0">
              <a:solidFill>
                <a:sysClr val="window" lastClr="FFFFFF"/>
              </a:solidFill>
              <a:latin typeface="Lato"/>
              <a:ea typeface="+mn-ea"/>
              <a:cs typeface="+mn-cs"/>
            </a:rPr>
            <a:t>Solution Statement Support:</a:t>
          </a:r>
        </a:p>
        <a:p>
          <a:pPr lvl="0" algn="ctr" defTabSz="889000">
            <a:lnSpc>
              <a:spcPct val="90000"/>
            </a:lnSpc>
            <a:spcBef>
              <a:spcPct val="0"/>
            </a:spcBef>
            <a:spcAft>
              <a:spcPct val="35000"/>
            </a:spcAft>
          </a:pPr>
          <a:r>
            <a:rPr lang="en-ZA" sz="2000" b="1" kern="1200" dirty="0" smtClean="0">
              <a:solidFill>
                <a:sysClr val="window" lastClr="FFFFFF"/>
              </a:solidFill>
              <a:latin typeface="Lato"/>
              <a:ea typeface="+mn-ea"/>
              <a:cs typeface="+mn-cs"/>
            </a:rPr>
            <a:t>High performing ethical organisation</a:t>
          </a:r>
          <a:endParaRPr lang="en-GB" sz="2000" b="1" kern="1200" dirty="0">
            <a:solidFill>
              <a:sysClr val="window" lastClr="FFFFFF"/>
            </a:solidFill>
            <a:latin typeface="Lato"/>
            <a:ea typeface="+mn-ea"/>
            <a:cs typeface="+mn-cs"/>
          </a:endParaRPr>
        </a:p>
      </dsp:txBody>
      <dsp:txXfrm>
        <a:off x="157013" y="54760"/>
        <a:ext cx="11639059" cy="652629"/>
      </dsp:txXfrm>
    </dsp:sp>
    <dsp:sp modelId="{B7CC506E-76AA-4F38-A791-F42D4C7CADF8}">
      <dsp:nvSpPr>
        <dsp:cNvPr id="0" name=""/>
        <dsp:cNvSpPr/>
      </dsp:nvSpPr>
      <dsp:spPr>
        <a:xfrm>
          <a:off x="0" y="723090"/>
          <a:ext cx="2857602" cy="469878"/>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ts val="0"/>
            </a:spcAft>
          </a:pPr>
          <a:r>
            <a:rPr lang="en-ZA" sz="1300" kern="1200" dirty="0" smtClean="0">
              <a:solidFill>
                <a:sysClr val="windowText" lastClr="000000"/>
              </a:solidFill>
              <a:latin typeface="Lato"/>
              <a:ea typeface="+mn-ea"/>
              <a:cs typeface="+mn-cs"/>
            </a:rPr>
            <a:t>Intervention:</a:t>
          </a:r>
        </a:p>
        <a:p>
          <a:pPr lvl="0" algn="ctr" defTabSz="577850">
            <a:lnSpc>
              <a:spcPct val="90000"/>
            </a:lnSpc>
            <a:spcBef>
              <a:spcPct val="0"/>
            </a:spcBef>
            <a:spcAft>
              <a:spcPts val="0"/>
            </a:spcAft>
          </a:pPr>
          <a:r>
            <a:rPr lang="en-ZA" sz="1300" kern="1200" dirty="0" smtClean="0">
              <a:solidFill>
                <a:sysClr val="windowText" lastClr="000000"/>
              </a:solidFill>
              <a:latin typeface="Lato"/>
              <a:ea typeface="+mn-ea"/>
              <a:cs typeface="+mn-cs"/>
            </a:rPr>
            <a:t>Automation and integration of systems</a:t>
          </a:r>
          <a:endParaRPr lang="en-GB" sz="1300" kern="1200" dirty="0">
            <a:solidFill>
              <a:sysClr val="windowText" lastClr="000000"/>
            </a:solidFill>
            <a:latin typeface="Lato"/>
            <a:ea typeface="+mn-ea"/>
            <a:cs typeface="+mn-cs"/>
          </a:endParaRPr>
        </a:p>
      </dsp:txBody>
      <dsp:txXfrm>
        <a:off x="0" y="723090"/>
        <a:ext cx="2857602" cy="469878"/>
      </dsp:txXfrm>
    </dsp:sp>
    <dsp:sp modelId="{AD2E7CCF-8632-48BA-AB5F-38D672160CB7}">
      <dsp:nvSpPr>
        <dsp:cNvPr id="0" name=""/>
        <dsp:cNvSpPr/>
      </dsp:nvSpPr>
      <dsp:spPr>
        <a:xfrm>
          <a:off x="158834" y="1287684"/>
          <a:ext cx="2500404" cy="609122"/>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Automation of business process for accurate, reliable, timeous and relevant information</a:t>
          </a:r>
          <a:endParaRPr lang="en-GB" sz="1200" kern="1200" dirty="0" smtClean="0">
            <a:solidFill>
              <a:sysClr val="windowText" lastClr="000000"/>
            </a:solidFill>
            <a:latin typeface="Lato"/>
            <a:ea typeface="+mn-ea"/>
            <a:cs typeface="+mn-cs"/>
          </a:endParaRPr>
        </a:p>
      </dsp:txBody>
      <dsp:txXfrm>
        <a:off x="158834" y="1287684"/>
        <a:ext cx="2500404" cy="609122"/>
      </dsp:txXfrm>
    </dsp:sp>
    <dsp:sp modelId="{3AC870FB-C26A-455D-A787-26FB8A768500}">
      <dsp:nvSpPr>
        <dsp:cNvPr id="0" name=""/>
        <dsp:cNvSpPr/>
      </dsp:nvSpPr>
      <dsp:spPr>
        <a:xfrm>
          <a:off x="168748" y="1990068"/>
          <a:ext cx="2500404" cy="47376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GB" sz="1200" kern="1200" dirty="0" smtClean="0">
              <a:solidFill>
                <a:sysClr val="windowText" lastClr="000000"/>
              </a:solidFill>
              <a:latin typeface="Lato"/>
              <a:ea typeface="+mn-ea"/>
              <a:cs typeface="+mn-cs"/>
            </a:rPr>
            <a:t>Single view of offender (Integrated Inmate Management System)</a:t>
          </a:r>
          <a:endParaRPr lang="en-GB" sz="1200" kern="1200" dirty="0">
            <a:solidFill>
              <a:sysClr val="windowText" lastClr="000000"/>
            </a:solidFill>
            <a:latin typeface="Lato"/>
            <a:ea typeface="+mn-ea"/>
            <a:cs typeface="+mn-cs"/>
          </a:endParaRPr>
        </a:p>
      </dsp:txBody>
      <dsp:txXfrm>
        <a:off x="168748" y="1990068"/>
        <a:ext cx="2500404" cy="473761"/>
      </dsp:txXfrm>
    </dsp:sp>
    <dsp:sp modelId="{68F9805C-8CAE-4938-9623-6375F921F333}">
      <dsp:nvSpPr>
        <dsp:cNvPr id="0" name=""/>
        <dsp:cNvSpPr/>
      </dsp:nvSpPr>
      <dsp:spPr>
        <a:xfrm>
          <a:off x="168748" y="2548358"/>
          <a:ext cx="2500404" cy="4848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kern="1200" dirty="0" smtClean="0">
              <a:solidFill>
                <a:sysClr val="windowText" lastClr="000000"/>
              </a:solidFill>
              <a:latin typeface="Lato"/>
              <a:ea typeface="+mn-ea"/>
              <a:cs typeface="+mn-cs"/>
            </a:rPr>
            <a:t>Digitalise identity for offenders, officials, visitors, stakeholders</a:t>
          </a:r>
        </a:p>
      </dsp:txBody>
      <dsp:txXfrm>
        <a:off x="168748" y="2548358"/>
        <a:ext cx="2500404" cy="484810"/>
      </dsp:txXfrm>
    </dsp:sp>
    <dsp:sp modelId="{61B4AA93-0842-4D55-B889-C5D4706F273C}">
      <dsp:nvSpPr>
        <dsp:cNvPr id="0" name=""/>
        <dsp:cNvSpPr/>
      </dsp:nvSpPr>
      <dsp:spPr>
        <a:xfrm>
          <a:off x="168748" y="3147648"/>
          <a:ext cx="2500404" cy="4848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Integration of security technology and information network.</a:t>
          </a:r>
          <a:endParaRPr lang="en-GB" sz="1400" kern="1200" dirty="0" smtClean="0">
            <a:solidFill>
              <a:sysClr val="windowText" lastClr="000000"/>
            </a:solidFill>
            <a:latin typeface="Lato"/>
            <a:ea typeface="+mn-ea"/>
            <a:cs typeface="+mn-cs"/>
          </a:endParaRPr>
        </a:p>
      </dsp:txBody>
      <dsp:txXfrm>
        <a:off x="168748" y="3147648"/>
        <a:ext cx="2500404" cy="484810"/>
      </dsp:txXfrm>
    </dsp:sp>
    <dsp:sp modelId="{3D806196-A09E-42B6-89DA-5DE151B649CC}">
      <dsp:nvSpPr>
        <dsp:cNvPr id="0" name=""/>
        <dsp:cNvSpPr/>
      </dsp:nvSpPr>
      <dsp:spPr>
        <a:xfrm>
          <a:off x="168748" y="3760619"/>
          <a:ext cx="2500404" cy="4848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ysClr val="windowText" lastClr="000000"/>
              </a:solidFill>
              <a:latin typeface="Lato"/>
              <a:ea typeface="+mn-ea"/>
              <a:cs typeface="+mn-cs"/>
            </a:rPr>
            <a:t>Upgrade and implement security technology</a:t>
          </a:r>
          <a:endParaRPr lang="en-GB" sz="1600" kern="1200" dirty="0" smtClean="0">
            <a:solidFill>
              <a:sysClr val="windowText" lastClr="000000"/>
            </a:solidFill>
            <a:latin typeface="Lato"/>
            <a:ea typeface="+mn-ea"/>
            <a:cs typeface="+mn-cs"/>
          </a:endParaRPr>
        </a:p>
      </dsp:txBody>
      <dsp:txXfrm>
        <a:off x="168748" y="3760619"/>
        <a:ext cx="2500404" cy="484810"/>
      </dsp:txXfrm>
    </dsp:sp>
    <dsp:sp modelId="{4C1F4693-C8EA-4D49-A3D3-8D6D9A6A79CE}">
      <dsp:nvSpPr>
        <dsp:cNvPr id="0" name=""/>
        <dsp:cNvSpPr/>
      </dsp:nvSpPr>
      <dsp:spPr>
        <a:xfrm>
          <a:off x="168748" y="4342460"/>
          <a:ext cx="2500404" cy="710642"/>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GB" sz="1200" kern="1200" dirty="0" smtClean="0">
              <a:solidFill>
                <a:sysClr val="windowText" lastClr="000000"/>
              </a:solidFill>
              <a:latin typeface="Lato"/>
              <a:ea typeface="+mn-ea"/>
              <a:cs typeface="+mn-cs"/>
            </a:rPr>
            <a:t>Develop Infrastructure assessment plan to c</a:t>
          </a:r>
          <a:r>
            <a:rPr lang="en-ZA" sz="1200" kern="1200" dirty="0" smtClean="0">
              <a:solidFill>
                <a:sysClr val="windowText" lastClr="000000"/>
              </a:solidFill>
              <a:latin typeface="Lato"/>
              <a:ea typeface="+mn-ea"/>
              <a:cs typeface="+mn-cs"/>
            </a:rPr>
            <a:t>continuously maintain, support and upgrade the IT Infrastructure  </a:t>
          </a:r>
          <a:endParaRPr lang="en-GB" sz="1200" kern="1200" dirty="0">
            <a:solidFill>
              <a:sysClr val="windowText" lastClr="000000"/>
            </a:solidFill>
            <a:latin typeface="Lato"/>
            <a:ea typeface="+mn-ea"/>
            <a:cs typeface="+mn-cs"/>
          </a:endParaRPr>
        </a:p>
      </dsp:txBody>
      <dsp:txXfrm>
        <a:off x="168748" y="4342460"/>
        <a:ext cx="2500404" cy="710642"/>
      </dsp:txXfrm>
    </dsp:sp>
    <dsp:sp modelId="{C633A689-B769-440B-A61E-472B58BC51D4}">
      <dsp:nvSpPr>
        <dsp:cNvPr id="0" name=""/>
        <dsp:cNvSpPr/>
      </dsp:nvSpPr>
      <dsp:spPr>
        <a:xfrm>
          <a:off x="2965972" y="720271"/>
          <a:ext cx="2857602" cy="469878"/>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ts val="0"/>
            </a:spcAft>
          </a:pPr>
          <a:r>
            <a:rPr lang="en-ZA" sz="1300" kern="1200" dirty="0" smtClean="0">
              <a:solidFill>
                <a:sysClr val="windowText" lastClr="000000"/>
              </a:solidFill>
              <a:latin typeface="Lato"/>
              <a:ea typeface="+mn-ea"/>
              <a:cs typeface="+mn-cs"/>
            </a:rPr>
            <a:t>Intervention: </a:t>
          </a:r>
        </a:p>
        <a:p>
          <a:pPr lvl="0" algn="ctr" defTabSz="577850">
            <a:lnSpc>
              <a:spcPct val="90000"/>
            </a:lnSpc>
            <a:spcBef>
              <a:spcPct val="0"/>
            </a:spcBef>
            <a:spcAft>
              <a:spcPts val="0"/>
            </a:spcAft>
          </a:pPr>
          <a:r>
            <a:rPr lang="en-ZA" sz="1300" kern="1200" dirty="0" smtClean="0">
              <a:solidFill>
                <a:sysClr val="windowText" lastClr="000000"/>
              </a:solidFill>
              <a:latin typeface="Lato"/>
              <a:ea typeface="+mn-ea"/>
              <a:cs typeface="+mn-cs"/>
            </a:rPr>
            <a:t>Strategic Human Resource Management </a:t>
          </a:r>
          <a:endParaRPr lang="en-GB" sz="1300" kern="1200" dirty="0">
            <a:solidFill>
              <a:sysClr val="windowText" lastClr="000000"/>
            </a:solidFill>
            <a:latin typeface="Lato"/>
            <a:ea typeface="+mn-ea"/>
            <a:cs typeface="+mn-cs"/>
          </a:endParaRPr>
        </a:p>
      </dsp:txBody>
      <dsp:txXfrm>
        <a:off x="2965972" y="720271"/>
        <a:ext cx="2857602" cy="469878"/>
      </dsp:txXfrm>
    </dsp:sp>
    <dsp:sp modelId="{C52F6E7A-06EB-4ED7-9448-A059B6929A94}">
      <dsp:nvSpPr>
        <dsp:cNvPr id="0" name=""/>
        <dsp:cNvSpPr/>
      </dsp:nvSpPr>
      <dsp:spPr>
        <a:xfrm>
          <a:off x="2967346" y="1237213"/>
          <a:ext cx="2857602" cy="38832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Full decentralisation of HR functions </a:t>
          </a:r>
          <a:endParaRPr lang="en-GB" sz="1400" kern="1200" dirty="0">
            <a:solidFill>
              <a:sysClr val="windowText" lastClr="000000"/>
            </a:solidFill>
            <a:latin typeface="Lato"/>
            <a:ea typeface="+mn-ea"/>
            <a:cs typeface="+mn-cs"/>
          </a:endParaRPr>
        </a:p>
      </dsp:txBody>
      <dsp:txXfrm>
        <a:off x="2967346" y="1237213"/>
        <a:ext cx="2857602" cy="388329"/>
      </dsp:txXfrm>
    </dsp:sp>
    <dsp:sp modelId="{FA874DA8-4D76-40E4-B03F-68097D2BD076}">
      <dsp:nvSpPr>
        <dsp:cNvPr id="0" name=""/>
        <dsp:cNvSpPr/>
      </dsp:nvSpPr>
      <dsp:spPr>
        <a:xfrm>
          <a:off x="2979541" y="1672026"/>
          <a:ext cx="2857602" cy="38860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GB" sz="1200" kern="1200" dirty="0" smtClean="0">
              <a:solidFill>
                <a:sysClr val="windowText" lastClr="000000"/>
              </a:solidFill>
              <a:latin typeface="Lato"/>
              <a:ea typeface="+mn-ea"/>
              <a:cs typeface="+mn-cs"/>
            </a:rPr>
            <a:t>Consistent implementation of HR directives</a:t>
          </a:r>
          <a:endParaRPr lang="en-GB" sz="1200" kern="1200" dirty="0">
            <a:solidFill>
              <a:sysClr val="windowText" lastClr="000000"/>
            </a:solidFill>
            <a:latin typeface="Lato"/>
            <a:ea typeface="+mn-ea"/>
            <a:cs typeface="+mn-cs"/>
          </a:endParaRPr>
        </a:p>
      </dsp:txBody>
      <dsp:txXfrm>
        <a:off x="2979541" y="1672026"/>
        <a:ext cx="2857602" cy="388609"/>
      </dsp:txXfrm>
    </dsp:sp>
    <dsp:sp modelId="{04410A4D-7DCC-4946-8471-DFD4EE5F71CD}">
      <dsp:nvSpPr>
        <dsp:cNvPr id="0" name=""/>
        <dsp:cNvSpPr/>
      </dsp:nvSpPr>
      <dsp:spPr>
        <a:xfrm>
          <a:off x="2979541" y="2097461"/>
          <a:ext cx="2857602" cy="45737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GB" sz="1050" b="0" kern="1200" dirty="0" smtClean="0">
              <a:solidFill>
                <a:sysClr val="windowText" lastClr="000000"/>
              </a:solidFill>
              <a:latin typeface="Lato"/>
              <a:ea typeface="+mn-ea"/>
              <a:cs typeface="+mn-cs"/>
            </a:rPr>
            <a:t>Approval and implementation of functional, centre-centric organisational structure</a:t>
          </a:r>
          <a:endParaRPr lang="en-GB" sz="1050" b="0" kern="1200" dirty="0">
            <a:solidFill>
              <a:sysClr val="windowText" lastClr="000000"/>
            </a:solidFill>
            <a:latin typeface="Lato"/>
            <a:ea typeface="+mn-ea"/>
            <a:cs typeface="+mn-cs"/>
          </a:endParaRPr>
        </a:p>
      </dsp:txBody>
      <dsp:txXfrm>
        <a:off x="2979541" y="2097461"/>
        <a:ext cx="2857602" cy="457379"/>
      </dsp:txXfrm>
    </dsp:sp>
    <dsp:sp modelId="{0E40AEC0-2671-423A-8A47-DC6E1E2C8277}">
      <dsp:nvSpPr>
        <dsp:cNvPr id="0" name=""/>
        <dsp:cNvSpPr/>
      </dsp:nvSpPr>
      <dsp:spPr>
        <a:xfrm>
          <a:off x="2979541" y="2609134"/>
          <a:ext cx="2857602" cy="62073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377825">
            <a:lnSpc>
              <a:spcPct val="100000"/>
            </a:lnSpc>
            <a:spcBef>
              <a:spcPct val="0"/>
            </a:spcBef>
            <a:spcAft>
              <a:spcPts val="0"/>
            </a:spcAft>
          </a:pPr>
          <a:r>
            <a:rPr lang="en-ZA" sz="850" kern="1200" dirty="0" smtClean="0">
              <a:solidFill>
                <a:sysClr val="windowText" lastClr="000000"/>
              </a:solidFill>
              <a:latin typeface="Lato"/>
              <a:ea typeface="+mn-ea"/>
              <a:cs typeface="+mn-cs"/>
            </a:rPr>
            <a:t>Partnership with other departments, HEIs, SETAs, Disability Sector, NSG, professional bodies - MoUs; allowances for professionals, extension of Community service programme to include other professions;</a:t>
          </a:r>
          <a:endParaRPr lang="en-GB" sz="850" kern="1200" dirty="0">
            <a:solidFill>
              <a:sysClr val="windowText" lastClr="000000"/>
            </a:solidFill>
            <a:latin typeface="Lato"/>
            <a:ea typeface="+mn-ea"/>
            <a:cs typeface="+mn-cs"/>
          </a:endParaRPr>
        </a:p>
      </dsp:txBody>
      <dsp:txXfrm>
        <a:off x="2979541" y="2609134"/>
        <a:ext cx="2857602" cy="620731"/>
      </dsp:txXfrm>
    </dsp:sp>
    <dsp:sp modelId="{EA59485D-2E2F-42CB-B81B-A0E1E3EA3A1C}">
      <dsp:nvSpPr>
        <dsp:cNvPr id="0" name=""/>
        <dsp:cNvSpPr/>
      </dsp:nvSpPr>
      <dsp:spPr>
        <a:xfrm>
          <a:off x="2979541" y="3280521"/>
          <a:ext cx="2857602" cy="38860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b="0" kern="1200" dirty="0" smtClean="0">
              <a:solidFill>
                <a:sysClr val="windowText" lastClr="000000"/>
              </a:solidFill>
              <a:latin typeface="Lato"/>
              <a:ea typeface="+mn-ea"/>
              <a:cs typeface="+mn-cs"/>
            </a:rPr>
            <a:t>Develop and Implement Talent Management Strategy</a:t>
          </a:r>
          <a:endParaRPr lang="en-GB" sz="1050" b="0" kern="1200" dirty="0">
            <a:solidFill>
              <a:sysClr val="windowText" lastClr="000000"/>
            </a:solidFill>
            <a:latin typeface="Lato"/>
            <a:ea typeface="+mn-ea"/>
            <a:cs typeface="+mn-cs"/>
          </a:endParaRPr>
        </a:p>
      </dsp:txBody>
      <dsp:txXfrm>
        <a:off x="2979541" y="3280521"/>
        <a:ext cx="2857602" cy="388609"/>
      </dsp:txXfrm>
    </dsp:sp>
    <dsp:sp modelId="{69577400-3728-444D-96E5-E59C84094316}">
      <dsp:nvSpPr>
        <dsp:cNvPr id="0" name=""/>
        <dsp:cNvSpPr/>
      </dsp:nvSpPr>
      <dsp:spPr>
        <a:xfrm>
          <a:off x="2979541" y="3716444"/>
          <a:ext cx="2857602" cy="38860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en-ZA" sz="1000" kern="1200" dirty="0" smtClean="0">
              <a:solidFill>
                <a:sysClr val="windowText" lastClr="000000"/>
              </a:solidFill>
              <a:latin typeface="Lato"/>
              <a:ea typeface="+mn-ea"/>
              <a:cs typeface="+mn-cs"/>
            </a:rPr>
            <a:t>Capacitate the Management Areas and correctional centres</a:t>
          </a:r>
          <a:endParaRPr lang="en-GB" sz="1000" kern="1200" dirty="0">
            <a:solidFill>
              <a:sysClr val="windowText" lastClr="000000"/>
            </a:solidFill>
            <a:latin typeface="Lato"/>
            <a:ea typeface="+mn-ea"/>
            <a:cs typeface="+mn-cs"/>
          </a:endParaRPr>
        </a:p>
      </dsp:txBody>
      <dsp:txXfrm>
        <a:off x="2979541" y="3716444"/>
        <a:ext cx="2857602" cy="388609"/>
      </dsp:txXfrm>
    </dsp:sp>
    <dsp:sp modelId="{830D38BF-6282-47C5-BAC0-DF00893C467F}">
      <dsp:nvSpPr>
        <dsp:cNvPr id="0" name=""/>
        <dsp:cNvSpPr/>
      </dsp:nvSpPr>
      <dsp:spPr>
        <a:xfrm>
          <a:off x="2977026" y="4156412"/>
          <a:ext cx="2857602" cy="388609"/>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Consistently avail adequate budget for the colleges </a:t>
          </a:r>
          <a:endParaRPr lang="en-GB" sz="1050" kern="1200" dirty="0" smtClean="0">
            <a:solidFill>
              <a:sysClr val="windowText" lastClr="000000"/>
            </a:solidFill>
            <a:latin typeface="Lato"/>
            <a:ea typeface="+mn-ea"/>
            <a:cs typeface="+mn-cs"/>
          </a:endParaRPr>
        </a:p>
      </dsp:txBody>
      <dsp:txXfrm>
        <a:off x="2977026" y="4156412"/>
        <a:ext cx="2857602" cy="388609"/>
      </dsp:txXfrm>
    </dsp:sp>
    <dsp:sp modelId="{FCD4C20C-521F-4545-939A-8A7799913E93}">
      <dsp:nvSpPr>
        <dsp:cNvPr id="0" name=""/>
        <dsp:cNvSpPr/>
      </dsp:nvSpPr>
      <dsp:spPr>
        <a:xfrm>
          <a:off x="2990984" y="4597754"/>
          <a:ext cx="2857602" cy="353604"/>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Approve the appropriate shift system after sufficient staffing has been provided</a:t>
          </a:r>
          <a:endParaRPr lang="en-GB" sz="1050" kern="1200" dirty="0" smtClean="0">
            <a:solidFill>
              <a:sysClr val="windowText" lastClr="000000"/>
            </a:solidFill>
            <a:latin typeface="Lato"/>
            <a:ea typeface="+mn-ea"/>
            <a:cs typeface="+mn-cs"/>
          </a:endParaRPr>
        </a:p>
      </dsp:txBody>
      <dsp:txXfrm>
        <a:off x="2990984" y="4597754"/>
        <a:ext cx="2857602" cy="353604"/>
      </dsp:txXfrm>
    </dsp:sp>
    <dsp:sp modelId="{B831C22F-984D-4917-BB77-DA19C75E8EEC}">
      <dsp:nvSpPr>
        <dsp:cNvPr id="0" name=""/>
        <dsp:cNvSpPr/>
      </dsp:nvSpPr>
      <dsp:spPr>
        <a:xfrm>
          <a:off x="3005041" y="5002191"/>
          <a:ext cx="2857602" cy="436457"/>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en-ZA" sz="900" kern="1200" dirty="0" smtClean="0">
              <a:solidFill>
                <a:sysClr val="windowText" lastClr="000000"/>
              </a:solidFill>
              <a:latin typeface="Lato"/>
              <a:ea typeface="+mn-ea"/>
              <a:cs typeface="+mn-cs"/>
            </a:rPr>
            <a:t>Implement integrated employee health and wellness programmes and training  aligned to COVID 19 SOPs and protocols</a:t>
          </a:r>
          <a:endParaRPr lang="en-GB" sz="900" kern="1200" dirty="0" smtClean="0">
            <a:solidFill>
              <a:sysClr val="windowText" lastClr="000000"/>
            </a:solidFill>
            <a:latin typeface="Lato"/>
            <a:ea typeface="+mn-ea"/>
            <a:cs typeface="+mn-cs"/>
          </a:endParaRPr>
        </a:p>
      </dsp:txBody>
      <dsp:txXfrm>
        <a:off x="3005041" y="5002191"/>
        <a:ext cx="2857602" cy="436457"/>
      </dsp:txXfrm>
    </dsp:sp>
    <dsp:sp modelId="{61FA1666-3CB0-4FB2-8C4B-E313F9D14383}">
      <dsp:nvSpPr>
        <dsp:cNvPr id="0" name=""/>
        <dsp:cNvSpPr/>
      </dsp:nvSpPr>
      <dsp:spPr>
        <a:xfrm>
          <a:off x="2986841" y="5408820"/>
          <a:ext cx="2857602" cy="291757"/>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en-ZA" sz="1050" kern="1200" dirty="0" smtClean="0">
              <a:solidFill>
                <a:sysClr val="windowText" lastClr="000000"/>
              </a:solidFill>
              <a:latin typeface="Lato"/>
              <a:ea typeface="+mn-ea"/>
              <a:cs typeface="+mn-cs"/>
            </a:rPr>
            <a:t>Professionalise the Department </a:t>
          </a:r>
          <a:endParaRPr lang="en-GB" sz="1050" kern="1200" dirty="0" smtClean="0">
            <a:solidFill>
              <a:sysClr val="windowText" lastClr="000000"/>
            </a:solidFill>
            <a:latin typeface="Lato"/>
            <a:ea typeface="+mn-ea"/>
            <a:cs typeface="+mn-cs"/>
          </a:endParaRPr>
        </a:p>
      </dsp:txBody>
      <dsp:txXfrm>
        <a:off x="2986841" y="5408820"/>
        <a:ext cx="2857602" cy="291757"/>
      </dsp:txXfrm>
    </dsp:sp>
    <dsp:sp modelId="{A1A7E265-6B33-4908-BF5C-D6CD576CE0F9}">
      <dsp:nvSpPr>
        <dsp:cNvPr id="0" name=""/>
        <dsp:cNvSpPr/>
      </dsp:nvSpPr>
      <dsp:spPr>
        <a:xfrm>
          <a:off x="5993897" y="727626"/>
          <a:ext cx="2857602" cy="469878"/>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ts val="0"/>
            </a:spcAft>
          </a:pPr>
          <a:r>
            <a:rPr lang="en-ZA" sz="1100" kern="1200" dirty="0" smtClean="0">
              <a:solidFill>
                <a:sysClr val="windowText" lastClr="000000"/>
              </a:solidFill>
              <a:latin typeface="Lato"/>
              <a:ea typeface="+mn-ea"/>
              <a:cs typeface="+mn-cs"/>
            </a:rPr>
            <a:t>Intervention:</a:t>
          </a:r>
        </a:p>
        <a:p>
          <a:pPr lvl="0" algn="ctr" defTabSz="488950">
            <a:lnSpc>
              <a:spcPct val="90000"/>
            </a:lnSpc>
            <a:spcBef>
              <a:spcPct val="0"/>
            </a:spcBef>
            <a:spcAft>
              <a:spcPts val="0"/>
            </a:spcAft>
          </a:pPr>
          <a:r>
            <a:rPr lang="en-ZA" sz="1100" kern="1200" dirty="0" smtClean="0">
              <a:solidFill>
                <a:sysClr val="windowText" lastClr="000000"/>
              </a:solidFill>
              <a:latin typeface="Lato"/>
              <a:ea typeface="+mn-ea"/>
              <a:cs typeface="+mn-cs"/>
            </a:rPr>
            <a:t>Stringent budget management and enhancing self sufficiency</a:t>
          </a:r>
          <a:endParaRPr lang="en-GB" sz="1100" kern="1200" dirty="0">
            <a:solidFill>
              <a:sysClr val="windowText" lastClr="000000"/>
            </a:solidFill>
            <a:latin typeface="Lato"/>
            <a:ea typeface="+mn-ea"/>
            <a:cs typeface="+mn-cs"/>
          </a:endParaRPr>
        </a:p>
      </dsp:txBody>
      <dsp:txXfrm>
        <a:off x="5993897" y="727626"/>
        <a:ext cx="2857602" cy="469878"/>
      </dsp:txXfrm>
    </dsp:sp>
    <dsp:sp modelId="{889AFA51-C7BD-4939-911F-CB1271EB2AF8}">
      <dsp:nvSpPr>
        <dsp:cNvPr id="0" name=""/>
        <dsp:cNvSpPr/>
      </dsp:nvSpPr>
      <dsp:spPr>
        <a:xfrm>
          <a:off x="6024523" y="1277490"/>
          <a:ext cx="2857602" cy="4848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Timely budget reprioritisation and budget controls.</a:t>
          </a:r>
          <a:endParaRPr lang="en-GB" sz="1200" kern="1200" dirty="0" smtClean="0">
            <a:solidFill>
              <a:sysClr val="windowText" lastClr="000000"/>
            </a:solidFill>
            <a:latin typeface="Lato"/>
            <a:ea typeface="+mn-ea"/>
            <a:cs typeface="+mn-cs"/>
          </a:endParaRPr>
        </a:p>
      </dsp:txBody>
      <dsp:txXfrm>
        <a:off x="6024523" y="1277490"/>
        <a:ext cx="2857602" cy="484810"/>
      </dsp:txXfrm>
    </dsp:sp>
    <dsp:sp modelId="{5566157D-149C-460F-97F5-CE2E5214442B}">
      <dsp:nvSpPr>
        <dsp:cNvPr id="0" name=""/>
        <dsp:cNvSpPr/>
      </dsp:nvSpPr>
      <dsp:spPr>
        <a:xfrm>
          <a:off x="6010839" y="1923976"/>
          <a:ext cx="2857602" cy="64641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Continuous cost saving initiatives by way of  bid negotiations and strategic procurement initiatives</a:t>
          </a:r>
          <a:endParaRPr lang="en-GB" sz="1200" kern="1200" dirty="0">
            <a:solidFill>
              <a:sysClr val="windowText" lastClr="000000"/>
            </a:solidFill>
            <a:latin typeface="Lato"/>
            <a:ea typeface="+mn-ea"/>
            <a:cs typeface="+mn-cs"/>
          </a:endParaRPr>
        </a:p>
      </dsp:txBody>
      <dsp:txXfrm>
        <a:off x="6010839" y="1923976"/>
        <a:ext cx="2857602" cy="646415"/>
      </dsp:txXfrm>
    </dsp:sp>
    <dsp:sp modelId="{84973679-6F82-4ED4-A935-CA4A0FD0F148}">
      <dsp:nvSpPr>
        <dsp:cNvPr id="0" name=""/>
        <dsp:cNvSpPr/>
      </dsp:nvSpPr>
      <dsp:spPr>
        <a:xfrm>
          <a:off x="6061803" y="2774324"/>
          <a:ext cx="2857602" cy="1082881"/>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Contribute towards growing small businesses and cooperatives and designated groups through 30% set aside to support SMME &amp; Cooperatives (PPPFA)</a:t>
          </a:r>
          <a:endParaRPr lang="en-GB" sz="1200" kern="1200" dirty="0" smtClean="0">
            <a:solidFill>
              <a:sysClr val="windowText" lastClr="000000"/>
            </a:solidFill>
            <a:latin typeface="Lato"/>
            <a:ea typeface="+mn-ea"/>
            <a:cs typeface="+mn-cs"/>
          </a:endParaRPr>
        </a:p>
      </dsp:txBody>
      <dsp:txXfrm>
        <a:off x="6061803" y="2774324"/>
        <a:ext cx="2857602" cy="1082881"/>
      </dsp:txXfrm>
    </dsp:sp>
    <dsp:sp modelId="{9185C20B-3F53-4B76-A66A-573CD6C3DBE0}">
      <dsp:nvSpPr>
        <dsp:cNvPr id="0" name=""/>
        <dsp:cNvSpPr/>
      </dsp:nvSpPr>
      <dsp:spPr>
        <a:xfrm>
          <a:off x="6075487" y="4041308"/>
          <a:ext cx="2857602" cy="64641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Expansion of opportunities to increase self sufficiency</a:t>
          </a:r>
          <a:endParaRPr lang="en-GB" sz="1400" kern="1200" dirty="0">
            <a:solidFill>
              <a:sysClr val="windowText" lastClr="000000"/>
            </a:solidFill>
            <a:latin typeface="Lato"/>
            <a:ea typeface="+mn-ea"/>
            <a:cs typeface="+mn-cs"/>
          </a:endParaRPr>
        </a:p>
      </dsp:txBody>
      <dsp:txXfrm>
        <a:off x="6075487" y="4041308"/>
        <a:ext cx="2857602" cy="646415"/>
      </dsp:txXfrm>
    </dsp:sp>
    <dsp:sp modelId="{2034BB97-76EC-478B-8B14-7267569BC1AA}">
      <dsp:nvSpPr>
        <dsp:cNvPr id="0" name=""/>
        <dsp:cNvSpPr/>
      </dsp:nvSpPr>
      <dsp:spPr>
        <a:xfrm>
          <a:off x="8984699" y="727626"/>
          <a:ext cx="2857602" cy="469878"/>
        </a:xfrm>
        <a:prstGeom prst="rect">
          <a:avLst/>
        </a:prstGeom>
        <a:solidFill>
          <a:srgbClr val="679F81">
            <a:lumMod val="40000"/>
            <a:lumOff val="6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ts val="0"/>
            </a:spcAft>
          </a:pPr>
          <a:r>
            <a:rPr lang="en-ZA" sz="1600" kern="1200" dirty="0" smtClean="0">
              <a:solidFill>
                <a:sysClr val="windowText" lastClr="000000"/>
              </a:solidFill>
              <a:latin typeface="Lato"/>
              <a:ea typeface="+mn-ea"/>
              <a:cs typeface="+mn-cs"/>
            </a:rPr>
            <a:t>Intervention:</a:t>
          </a:r>
        </a:p>
        <a:p>
          <a:pPr lvl="0" algn="ctr" defTabSz="711200">
            <a:lnSpc>
              <a:spcPct val="90000"/>
            </a:lnSpc>
            <a:spcBef>
              <a:spcPct val="0"/>
            </a:spcBef>
            <a:spcAft>
              <a:spcPts val="0"/>
            </a:spcAft>
          </a:pPr>
          <a:r>
            <a:rPr lang="en-ZA" sz="1600" kern="1200" dirty="0" smtClean="0">
              <a:solidFill>
                <a:sysClr val="windowText" lastClr="000000"/>
              </a:solidFill>
              <a:latin typeface="Lato"/>
              <a:ea typeface="+mn-ea"/>
              <a:cs typeface="+mn-cs"/>
            </a:rPr>
            <a:t>Improve compliance</a:t>
          </a:r>
          <a:endParaRPr lang="en-GB" sz="1600" kern="1200" dirty="0">
            <a:solidFill>
              <a:sysClr val="windowText" lastClr="000000"/>
            </a:solidFill>
            <a:latin typeface="Lato"/>
            <a:ea typeface="+mn-ea"/>
            <a:cs typeface="+mn-cs"/>
          </a:endParaRPr>
        </a:p>
      </dsp:txBody>
      <dsp:txXfrm>
        <a:off x="8984699" y="727626"/>
        <a:ext cx="2857602" cy="469878"/>
      </dsp:txXfrm>
    </dsp:sp>
    <dsp:sp modelId="{6525961F-8FBD-4859-8DE6-CC029265436B}">
      <dsp:nvSpPr>
        <dsp:cNvPr id="0" name=""/>
        <dsp:cNvSpPr/>
      </dsp:nvSpPr>
      <dsp:spPr>
        <a:xfrm>
          <a:off x="9203222" y="1225324"/>
          <a:ext cx="2321807" cy="64641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ZA" sz="1600" kern="1200" dirty="0" smtClean="0">
              <a:solidFill>
                <a:sysClr val="windowText" lastClr="000000"/>
              </a:solidFill>
              <a:latin typeface="Lato"/>
              <a:ea typeface="+mn-ea"/>
              <a:cs typeface="+mn-cs"/>
            </a:rPr>
            <a:t>Review and automate compliance functions</a:t>
          </a:r>
          <a:endParaRPr lang="en-GB" sz="1600" kern="1200" dirty="0">
            <a:solidFill>
              <a:sysClr val="windowText" lastClr="000000"/>
            </a:solidFill>
            <a:latin typeface="Lato"/>
            <a:ea typeface="+mn-ea"/>
            <a:cs typeface="+mn-cs"/>
          </a:endParaRPr>
        </a:p>
      </dsp:txBody>
      <dsp:txXfrm>
        <a:off x="9203222" y="1225324"/>
        <a:ext cx="2321807" cy="646415"/>
      </dsp:txXfrm>
    </dsp:sp>
    <dsp:sp modelId="{78EE5F20-2D72-4F04-BE3F-8283CA4EB390}">
      <dsp:nvSpPr>
        <dsp:cNvPr id="0" name=""/>
        <dsp:cNvSpPr/>
      </dsp:nvSpPr>
      <dsp:spPr>
        <a:xfrm>
          <a:off x="9204681" y="1946374"/>
          <a:ext cx="2321807" cy="64641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Review the current supply chain management operating model and awarding of contracts</a:t>
          </a:r>
          <a:endParaRPr lang="en-GB" sz="1200" kern="1200" dirty="0">
            <a:solidFill>
              <a:sysClr val="windowText" lastClr="000000"/>
            </a:solidFill>
            <a:latin typeface="Lato"/>
            <a:ea typeface="+mn-ea"/>
            <a:cs typeface="+mn-cs"/>
          </a:endParaRPr>
        </a:p>
      </dsp:txBody>
      <dsp:txXfrm>
        <a:off x="9204681" y="1946374"/>
        <a:ext cx="2321807" cy="646415"/>
      </dsp:txXfrm>
    </dsp:sp>
    <dsp:sp modelId="{C2E3C8C2-963F-46A6-A733-D84654932C5D}">
      <dsp:nvSpPr>
        <dsp:cNvPr id="0" name=""/>
        <dsp:cNvSpPr/>
      </dsp:nvSpPr>
      <dsp:spPr>
        <a:xfrm>
          <a:off x="9206525" y="2681107"/>
          <a:ext cx="2321807" cy="84600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11175">
            <a:lnSpc>
              <a:spcPct val="90000"/>
            </a:lnSpc>
            <a:spcBef>
              <a:spcPct val="0"/>
            </a:spcBef>
            <a:spcAft>
              <a:spcPct val="35000"/>
            </a:spcAft>
          </a:pPr>
          <a:r>
            <a:rPr lang="en-ZA" sz="1150" kern="1200" dirty="0" smtClean="0">
              <a:solidFill>
                <a:sysClr val="windowText" lastClr="000000"/>
              </a:solidFill>
              <a:latin typeface="Lato"/>
              <a:ea typeface="+mn-ea"/>
              <a:cs typeface="+mn-cs"/>
            </a:rPr>
            <a:t>Review the line of sight between HO, Regions and Management Areas by clearly defining roles and responsibilities</a:t>
          </a:r>
          <a:endParaRPr lang="en-GB" sz="1150" kern="1200" dirty="0">
            <a:solidFill>
              <a:sysClr val="windowText" lastClr="000000"/>
            </a:solidFill>
            <a:latin typeface="Lato"/>
            <a:ea typeface="+mn-ea"/>
            <a:cs typeface="+mn-cs"/>
          </a:endParaRPr>
        </a:p>
      </dsp:txBody>
      <dsp:txXfrm>
        <a:off x="9206525" y="2681107"/>
        <a:ext cx="2321807" cy="846000"/>
      </dsp:txXfrm>
    </dsp:sp>
    <dsp:sp modelId="{B12AF6D6-EC2F-4B2B-992C-8D08E7129CD6}">
      <dsp:nvSpPr>
        <dsp:cNvPr id="0" name=""/>
        <dsp:cNvSpPr/>
      </dsp:nvSpPr>
      <dsp:spPr>
        <a:xfrm>
          <a:off x="9211397" y="3601048"/>
          <a:ext cx="2321807" cy="646415"/>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solidFill>
                <a:sysClr val="windowText" lastClr="000000"/>
              </a:solidFill>
              <a:latin typeface="Lato"/>
              <a:ea typeface="+mn-ea"/>
              <a:cs typeface="+mn-cs"/>
            </a:rPr>
            <a:t>Reorganize Assurance Services to maximize assurance value, optimize operational efficiency</a:t>
          </a:r>
          <a:endParaRPr lang="en-GB" sz="1200" kern="1200" dirty="0">
            <a:solidFill>
              <a:sysClr val="windowText" lastClr="000000"/>
            </a:solidFill>
            <a:latin typeface="Lato"/>
            <a:ea typeface="+mn-ea"/>
            <a:cs typeface="+mn-cs"/>
          </a:endParaRPr>
        </a:p>
      </dsp:txBody>
      <dsp:txXfrm>
        <a:off x="9211397" y="3601048"/>
        <a:ext cx="2321807" cy="646415"/>
      </dsp:txXfrm>
    </dsp:sp>
    <dsp:sp modelId="{66F06CE1-3BB0-4A85-8D70-A149B82E3BB3}">
      <dsp:nvSpPr>
        <dsp:cNvPr id="0" name=""/>
        <dsp:cNvSpPr/>
      </dsp:nvSpPr>
      <dsp:spPr>
        <a:xfrm>
          <a:off x="9203298" y="4310516"/>
          <a:ext cx="2321807" cy="484810"/>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ZA" sz="1400" kern="1200" dirty="0" smtClean="0">
              <a:solidFill>
                <a:sysClr val="windowText" lastClr="000000"/>
              </a:solidFill>
              <a:latin typeface="Lato"/>
              <a:ea typeface="+mn-ea"/>
              <a:cs typeface="+mn-cs"/>
            </a:rPr>
            <a:t>Monitoring of compliance to legislation and prescripts</a:t>
          </a:r>
          <a:endParaRPr lang="en-GB" sz="1400" kern="1200" dirty="0">
            <a:solidFill>
              <a:sysClr val="windowText" lastClr="000000"/>
            </a:solidFill>
            <a:latin typeface="Lato"/>
            <a:ea typeface="+mn-ea"/>
            <a:cs typeface="+mn-cs"/>
          </a:endParaRPr>
        </a:p>
      </dsp:txBody>
      <dsp:txXfrm>
        <a:off x="9203298" y="4310516"/>
        <a:ext cx="2321807" cy="484810"/>
      </dsp:txXfrm>
    </dsp:sp>
    <dsp:sp modelId="{FDBEDC48-7610-4008-971F-97F33921F3AB}">
      <dsp:nvSpPr>
        <dsp:cNvPr id="0" name=""/>
        <dsp:cNvSpPr/>
      </dsp:nvSpPr>
      <dsp:spPr>
        <a:xfrm>
          <a:off x="9193524" y="4827706"/>
          <a:ext cx="2321807" cy="291757"/>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kern="1200" dirty="0">
              <a:solidFill>
                <a:sysClr val="windowText" lastClr="000000"/>
              </a:solidFill>
              <a:latin typeface="Lato"/>
              <a:ea typeface="+mn-ea"/>
              <a:cs typeface="+mn-cs"/>
            </a:rPr>
            <a:t>Consequence Management</a:t>
          </a:r>
        </a:p>
      </dsp:txBody>
      <dsp:txXfrm>
        <a:off x="9193524" y="4827706"/>
        <a:ext cx="2321807" cy="291757"/>
      </dsp:txXfrm>
    </dsp:sp>
    <dsp:sp modelId="{D80FB876-3642-4FE6-B768-C498CB2DC45B}">
      <dsp:nvSpPr>
        <dsp:cNvPr id="0" name=""/>
        <dsp:cNvSpPr/>
      </dsp:nvSpPr>
      <dsp:spPr>
        <a:xfrm>
          <a:off x="9179701" y="5178314"/>
          <a:ext cx="2321807" cy="291757"/>
        </a:xfrm>
        <a:prstGeom prst="rect">
          <a:avLst/>
        </a:prstGeom>
        <a:solidFill>
          <a:srgbClr val="EADFB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GB" sz="1400" kern="1200" dirty="0">
              <a:solidFill>
                <a:sysClr val="windowText" lastClr="000000"/>
              </a:solidFill>
              <a:latin typeface="Lato"/>
              <a:ea typeface="+mn-ea"/>
              <a:cs typeface="+mn-cs"/>
            </a:rPr>
            <a:t>Fraud awareness</a:t>
          </a:r>
        </a:p>
      </dsp:txBody>
      <dsp:txXfrm>
        <a:off x="9179701" y="5178314"/>
        <a:ext cx="2321807" cy="291757"/>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1.xml.rels><?xml version="1.0" encoding="UTF-8" standalone="yes"?>
<Relationships xmlns="http://schemas.openxmlformats.org/package/2006/relationships"><Relationship Id="rId1" Type="http://schemas.openxmlformats.org/officeDocument/2006/relationships/image" Target="../media/image7.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0146</cdr:x>
      <cdr:y>0.1653</cdr:y>
    </cdr:from>
    <cdr:to>
      <cdr:x>0.73889</cdr:x>
      <cdr:y>0.86059</cdr:y>
    </cdr:to>
    <cdr:sp macro="" textlink="">
      <cdr:nvSpPr>
        <cdr:cNvPr id="2" name="Oval 1"/>
        <cdr:cNvSpPr/>
      </cdr:nvSpPr>
      <cdr:spPr>
        <a:xfrm xmlns:a="http://schemas.openxmlformats.org/drawingml/2006/main">
          <a:off x="2241479" y="766147"/>
          <a:ext cx="3252506" cy="3222638"/>
        </a:xfrm>
        <a:prstGeom xmlns:a="http://schemas.openxmlformats.org/drawingml/2006/main" prst="ellipse">
          <a:avLst/>
        </a:prstGeom>
        <a:blipFill xmlns:a="http://schemas.openxmlformats.org/drawingml/2006/main">
          <a:blip xmlns:r="http://schemas.openxmlformats.org/officeDocument/2006/relationships" r:embed="rId1"/>
          <a:stretch>
            <a:fillRect/>
          </a:stretch>
        </a:blip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06719</cdr:x>
      <cdr:y>0.30251</cdr:y>
    </cdr:from>
    <cdr:to>
      <cdr:x>0.17855</cdr:x>
      <cdr:y>0.48089</cdr:y>
    </cdr:to>
    <cdr:sp macro="" textlink="">
      <cdr:nvSpPr>
        <cdr:cNvPr id="3" name="Oval 2">
          <a:extLst xmlns:a="http://schemas.openxmlformats.org/drawingml/2006/main">
            <a:ext uri="{FF2B5EF4-FFF2-40B4-BE49-F238E27FC236}">
              <a16:creationId xmlns="" xmlns:r="http://schemas.openxmlformats.org/officeDocument/2006/relationships" xmlns:p="http://schemas.openxmlformats.org/presentationml/2006/main" xmlns:a16="http://schemas.microsoft.com/office/drawing/2014/main" xmlns:lc="http://schemas.openxmlformats.org/drawingml/2006/lockedCanvas" id="{2EF9CEEA-65F2-4E31-AFB9-C410E054534C}"/>
            </a:ext>
          </a:extLst>
        </cdr:cNvPr>
        <cdr:cNvSpPr/>
      </cdr:nvSpPr>
      <cdr:spPr>
        <a:xfrm xmlns:a="http://schemas.openxmlformats.org/drawingml/2006/main">
          <a:off x="499590" y="1402121"/>
          <a:ext cx="828000" cy="826783"/>
        </a:xfrm>
        <a:prstGeom xmlns:a="http://schemas.openxmlformats.org/drawingml/2006/main" prst="ellipse">
          <a:avLst/>
        </a:prstGeom>
        <a:solidFill xmlns:a="http://schemas.openxmlformats.org/drawingml/2006/main">
          <a:schemeClr val="accent6">
            <a:lumMod val="60000"/>
            <a:lumOff val="40000"/>
          </a:schemeClr>
        </a:solidFill>
        <a:ln xmlns:a="http://schemas.openxmlformats.org/drawingml/2006/main" w="12700" cap="flat" cmpd="sng" algn="ctr">
          <a:noFill/>
          <a:prstDash val="solid"/>
          <a:miter lim="800000"/>
        </a:ln>
        <a:effectLst xmlns:a="http://schemas.openxmlformats.org/drawingml/2006/main"/>
      </cdr:spPr>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F9E0337-60F2-48E3-804D-D8A7DEE870FB}" type="datetimeFigureOut">
              <a:rPr lang="en-ZA" smtClean="0"/>
              <a:t>2020/10/07</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D6F0A4-DABF-438F-8DC1-E5244420521C}" type="slidenum">
              <a:rPr lang="en-ZA" smtClean="0"/>
              <a:t>‹#›</a:t>
            </a:fld>
            <a:endParaRPr lang="en-ZA"/>
          </a:p>
        </p:txBody>
      </p:sp>
    </p:spTree>
    <p:extLst>
      <p:ext uri="{BB962C8B-B14F-4D97-AF65-F5344CB8AC3E}">
        <p14:creationId xmlns:p14="http://schemas.microsoft.com/office/powerpoint/2010/main" val="4279309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unsplash.com/@dylandgillis"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pexels.com/@fauxel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hoto by </a:t>
            </a:r>
            <a:r>
              <a:rPr lang="en-ID" sz="1200" b="0" i="0" u="none" strike="noStrike" kern="1200" dirty="0">
                <a:solidFill>
                  <a:schemeClr val="tx1"/>
                </a:solidFill>
                <a:effectLst/>
                <a:latin typeface="+mn-lt"/>
                <a:ea typeface="+mn-ea"/>
                <a:cs typeface="+mn-cs"/>
                <a:hlinkClick r:id="rId3"/>
              </a:rPr>
              <a:t>Rebrand Cities</a:t>
            </a:r>
            <a:r>
              <a:rPr lang="en-ID" sz="1200" b="0" i="0" u="none" strike="noStrike" kern="1200" dirty="0">
                <a:solidFill>
                  <a:schemeClr val="tx1"/>
                </a:solidFill>
                <a:effectLst/>
                <a:latin typeface="+mn-lt"/>
                <a:ea typeface="+mn-ea"/>
                <a:cs typeface="+mn-cs"/>
              </a:rPr>
              <a:t> </a:t>
            </a: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a:t>
            </a:fld>
            <a:endParaRPr lang="en-ID">
              <a:solidFill>
                <a:prstClr val="black"/>
              </a:solidFill>
            </a:endParaRPr>
          </a:p>
        </p:txBody>
      </p:sp>
    </p:spTree>
    <p:extLst>
      <p:ext uri="{BB962C8B-B14F-4D97-AF65-F5344CB8AC3E}">
        <p14:creationId xmlns:p14="http://schemas.microsoft.com/office/powerpoint/2010/main" val="31560892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smtClean="0"/>
              <a:t>Are there any pathways that are blocked, can we follow a new or different pathway to get to the same result.  Has COVID-19 open/ closed some challenges or are they still relevant.</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51186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1</a:t>
            </a:fld>
            <a:endParaRPr lang="en-ZA"/>
          </a:p>
        </p:txBody>
      </p:sp>
    </p:spTree>
    <p:extLst>
      <p:ext uri="{BB962C8B-B14F-4D97-AF65-F5344CB8AC3E}">
        <p14:creationId xmlns:p14="http://schemas.microsoft.com/office/powerpoint/2010/main" val="12941108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will be no further consultation</a:t>
            </a:r>
            <a:r>
              <a:rPr lang="en-US" baseline="0" dirty="0" smtClean="0"/>
              <a:t> on APP KPI, whatever is added her will be taken as the final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12</a:t>
            </a:fld>
            <a:endParaRPr lang="en-ZA"/>
          </a:p>
        </p:txBody>
      </p:sp>
    </p:spTree>
    <p:extLst>
      <p:ext uri="{BB962C8B-B14F-4D97-AF65-F5344CB8AC3E}">
        <p14:creationId xmlns:p14="http://schemas.microsoft.com/office/powerpoint/2010/main" val="790625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27D6F0A4-DABF-438F-8DC1-E5244420521C}" type="slidenum">
              <a:rPr lang="en-ZA" smtClean="0"/>
              <a:t>13</a:t>
            </a:fld>
            <a:endParaRPr lang="en-ZA"/>
          </a:p>
        </p:txBody>
      </p:sp>
    </p:spTree>
    <p:extLst>
      <p:ext uri="{BB962C8B-B14F-4D97-AF65-F5344CB8AC3E}">
        <p14:creationId xmlns:p14="http://schemas.microsoft.com/office/powerpoint/2010/main" val="10054128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The alternative modes of delivery to improve performance</a:t>
            </a:r>
          </a:p>
          <a:p>
            <a:pPr marL="342900" indent="-342900">
              <a:buAutoNum type="alphaLcParenR"/>
            </a:pPr>
            <a:r>
              <a:rPr lang="en-ZA" dirty="0" smtClean="0"/>
              <a:t>Reflect on the current modes of delivery and SDM proposed</a:t>
            </a:r>
          </a:p>
          <a:p>
            <a:pPr marL="342900" indent="-342900">
              <a:buAutoNum type="alphaLcParenR"/>
            </a:pPr>
            <a:r>
              <a:rPr lang="en-ZA" dirty="0" smtClean="0"/>
              <a:t>Steps taken to resolve the challenges </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123963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34220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933394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r>
              <a:rPr lang="en-ZA" dirty="0" smtClean="0"/>
              <a:t>provide:</a:t>
            </a:r>
          </a:p>
          <a:p>
            <a:pPr marL="342900" indent="-342900">
              <a:buAutoNum type="alphaLcParenR"/>
            </a:pPr>
            <a:r>
              <a:rPr lang="en-ZA" dirty="0" smtClean="0"/>
              <a:t>Updated risks</a:t>
            </a:r>
          </a:p>
          <a:p>
            <a:pPr marL="342900" indent="-342900">
              <a:buAutoNum type="alphaLcParenR"/>
            </a:pPr>
            <a:r>
              <a:rPr lang="en-ZA" dirty="0" smtClean="0"/>
              <a:t>Plans to mitigate</a:t>
            </a:r>
          </a:p>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015755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hoto by </a:t>
            </a:r>
            <a:r>
              <a:rPr lang="en-US" sz="1200" b="1" i="0" u="none" strike="noStrike" kern="1200" dirty="0" err="1">
                <a:solidFill>
                  <a:schemeClr val="tx1"/>
                </a:solidFill>
                <a:effectLst/>
                <a:latin typeface="+mn-lt"/>
                <a:ea typeface="+mn-ea"/>
                <a:cs typeface="+mn-cs"/>
                <a:hlinkClick r:id="rId3"/>
              </a:rPr>
              <a:t>fauxels</a:t>
            </a:r>
            <a:endParaRPr lang="en-US" sz="1200" b="1" i="0" u="none" strike="noStrike" kern="1200" dirty="0">
              <a:solidFill>
                <a:schemeClr val="tx1"/>
              </a:solidFill>
              <a:effectLst/>
              <a:latin typeface="+mn-lt"/>
              <a:ea typeface="+mn-ea"/>
              <a:cs typeface="+mn-cs"/>
              <a:hlinkClick r:id="rId3"/>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on </a:t>
            </a:r>
            <a:r>
              <a:rPr lang="en-US" sz="1200" b="0" i="0" kern="1200" dirty="0" err="1">
                <a:solidFill>
                  <a:schemeClr val="tx1"/>
                </a:solidFill>
                <a:effectLst/>
                <a:latin typeface="+mn-lt"/>
                <a:ea typeface="+mn-ea"/>
                <a:cs typeface="+mn-cs"/>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solidFill>
                  <a:prstClr val="black"/>
                </a:solidFill>
              </a:rPr>
              <a:pPr/>
              <a:t>18</a:t>
            </a:fld>
            <a:endParaRPr lang="en-ID">
              <a:solidFill>
                <a:prstClr val="black"/>
              </a:solidFill>
            </a:endParaRPr>
          </a:p>
        </p:txBody>
      </p:sp>
    </p:spTree>
    <p:extLst>
      <p:ext uri="{BB962C8B-B14F-4D97-AF65-F5344CB8AC3E}">
        <p14:creationId xmlns:p14="http://schemas.microsoft.com/office/powerpoint/2010/main" val="4269523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31861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Not for</a:t>
            </a:r>
            <a:r>
              <a:rPr lang="en-US" baseline="0" dirty="0" smtClean="0"/>
              <a:t> presentation purposes</a:t>
            </a:r>
          </a:p>
          <a:p>
            <a:pPr marL="0" lvl="0" indent="0" algn="l" rtl="0">
              <a:spcBef>
                <a:spcPts val="0"/>
              </a:spcBef>
              <a:spcAft>
                <a:spcPts val="0"/>
              </a:spcAft>
              <a:buNone/>
            </a:pPr>
            <a:r>
              <a:rPr lang="en-US" sz="1200" dirty="0" smtClean="0"/>
              <a:t>This is important background information that will guide</a:t>
            </a:r>
            <a:r>
              <a:rPr lang="en-US" sz="1200" baseline="0" dirty="0" smtClean="0"/>
              <a:t> managers on what the content is focusing on </a:t>
            </a:r>
            <a:r>
              <a:rPr lang="en-US" sz="1200" dirty="0" smtClean="0"/>
              <a:t> </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11534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smtClean="0"/>
              <a:t>Brainstorming</a:t>
            </a:r>
            <a:r>
              <a:rPr lang="en-US" baseline="0" dirty="0" smtClean="0"/>
              <a:t> technique:</a:t>
            </a:r>
            <a:endParaRPr lang="en-US" dirty="0" smtClean="0"/>
          </a:p>
          <a:p>
            <a:pPr marL="0" lvl="0" indent="0" algn="l" rtl="0">
              <a:spcBef>
                <a:spcPts val="0"/>
              </a:spcBef>
              <a:spcAft>
                <a:spcPts val="0"/>
              </a:spcAft>
              <a:buNone/>
            </a:pPr>
            <a:endParaRPr lang="en-US" dirty="0" smtClean="0"/>
          </a:p>
          <a:p>
            <a:pPr marL="0" lvl="0" indent="0" algn="l" rtl="0">
              <a:spcBef>
                <a:spcPts val="0"/>
              </a:spcBef>
              <a:spcAft>
                <a:spcPts val="0"/>
              </a:spcAft>
              <a:buNone/>
            </a:pPr>
            <a:r>
              <a:rPr lang="en-US" dirty="0" smtClean="0"/>
              <a:t>Push: Driving forces in the present that affect the future</a:t>
            </a:r>
          </a:p>
          <a:p>
            <a:pPr marL="0" lvl="0" indent="0" algn="l" rtl="0">
              <a:spcBef>
                <a:spcPts val="0"/>
              </a:spcBef>
              <a:spcAft>
                <a:spcPts val="0"/>
              </a:spcAft>
              <a:buNone/>
            </a:pPr>
            <a:r>
              <a:rPr lang="en-US" dirty="0" smtClean="0"/>
              <a:t>Weights: barriers to change that keep us in the past</a:t>
            </a: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847906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xamples provided by Strategic Management –</a:t>
            </a:r>
            <a:r>
              <a:rPr lang="en-US" baseline="0" dirty="0" smtClean="0"/>
              <a:t> Outcome Leaders need to develop their own please</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5</a:t>
            </a:fld>
            <a:endParaRPr lang="en-ZA"/>
          </a:p>
        </p:txBody>
      </p:sp>
    </p:spTree>
    <p:extLst>
      <p:ext uri="{BB962C8B-B14F-4D97-AF65-F5344CB8AC3E}">
        <p14:creationId xmlns:p14="http://schemas.microsoft.com/office/powerpoint/2010/main" val="4174388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3:notes"/>
          <p:cNvSpPr txBox="1">
            <a:spLocks noGrp="1"/>
          </p:cNvSpPr>
          <p:nvPr>
            <p:ph type="body" idx="1"/>
          </p:nvPr>
        </p:nvSpPr>
        <p:spPr>
          <a:xfrm>
            <a:off x="992665" y="3228896"/>
            <a:ext cx="7941310" cy="305895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7" name="Google Shape;97;p3:notes"/>
          <p:cNvSpPr>
            <a:spLocks noGrp="1" noRot="1" noChangeAspect="1"/>
          </p:cNvSpPr>
          <p:nvPr>
            <p:ph type="sldImg" idx="2"/>
          </p:nvPr>
        </p:nvSpPr>
        <p:spPr>
          <a:xfrm>
            <a:off x="2697163" y="509588"/>
            <a:ext cx="4532312" cy="254952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8288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for information</a:t>
            </a:r>
            <a:r>
              <a:rPr lang="en-US" baseline="0" dirty="0" smtClean="0"/>
              <a:t> only – remind managers what the seven priority areas are – not for presentation purposes</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7</a:t>
            </a:fld>
            <a:endParaRPr lang="en-ZA"/>
          </a:p>
        </p:txBody>
      </p:sp>
    </p:spTree>
    <p:extLst>
      <p:ext uri="{BB962C8B-B14F-4D97-AF65-F5344CB8AC3E}">
        <p14:creationId xmlns:p14="http://schemas.microsoft.com/office/powerpoint/2010/main" val="2180033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 MTSF Targets for GITO</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t>8</a:t>
            </a:fld>
            <a:endParaRPr lang="en-ZA"/>
          </a:p>
        </p:txBody>
      </p:sp>
    </p:spTree>
    <p:extLst>
      <p:ext uri="{BB962C8B-B14F-4D97-AF65-F5344CB8AC3E}">
        <p14:creationId xmlns:p14="http://schemas.microsoft.com/office/powerpoint/2010/main" val="1765230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Review the Problem/ Solution Trees to determine if there are any gaps that need to be closed (new problems/ root causes) taking into consideration the current operating environment. </a:t>
            </a:r>
            <a:endParaRPr lang="en-ZA" dirty="0"/>
          </a:p>
        </p:txBody>
      </p:sp>
      <p:sp>
        <p:nvSpPr>
          <p:cNvPr id="4" name="Slide Number Placeholder 3"/>
          <p:cNvSpPr>
            <a:spLocks noGrp="1"/>
          </p:cNvSpPr>
          <p:nvPr>
            <p:ph type="sldNum" sz="quarter" idx="10"/>
          </p:nvPr>
        </p:nvSpPr>
        <p:spPr/>
        <p:txBody>
          <a:bodyPr/>
          <a:lstStyle/>
          <a:p>
            <a:fld id="{27D6F0A4-DABF-438F-8DC1-E5244420521C}" type="slidenum">
              <a:rPr lang="en-ZA" smtClean="0">
                <a:solidFill>
                  <a:prstClr val="black"/>
                </a:solidFill>
              </a:rPr>
              <a:pPr/>
              <a:t>9</a:t>
            </a:fld>
            <a:endParaRPr lang="en-ZA">
              <a:solidFill>
                <a:prstClr val="black"/>
              </a:solidFill>
            </a:endParaRPr>
          </a:p>
        </p:txBody>
      </p:sp>
    </p:spTree>
    <p:extLst>
      <p:ext uri="{BB962C8B-B14F-4D97-AF65-F5344CB8AC3E}">
        <p14:creationId xmlns:p14="http://schemas.microsoft.com/office/powerpoint/2010/main" val="7529780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185148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6286398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1083795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Header, Content &amp; Note">
    <p:spTree>
      <p:nvGrpSpPr>
        <p:cNvPr id="1" name=""/>
        <p:cNvGrpSpPr/>
        <p:nvPr/>
      </p:nvGrpSpPr>
      <p:grpSpPr>
        <a:xfrm>
          <a:off x="0" y="0"/>
          <a:ext cx="0" cy="0"/>
          <a:chOff x="0" y="0"/>
          <a:chExt cx="0" cy="0"/>
        </a:xfrm>
      </p:grpSpPr>
      <p:sp>
        <p:nvSpPr>
          <p:cNvPr id="2" name="Title 1"/>
          <p:cNvSpPr>
            <a:spLocks noGrp="1"/>
          </p:cNvSpPr>
          <p:nvPr>
            <p:ph type="title"/>
          </p:nvPr>
        </p:nvSpPr>
        <p:spPr>
          <a:xfrm>
            <a:off x="187057" y="44451"/>
            <a:ext cx="9531405" cy="1013950"/>
          </a:xfrm>
        </p:spPr>
        <p:txBody>
          <a:bodyPr>
            <a:normAutofit/>
          </a:bodyPr>
          <a:lstStyle>
            <a:lvl1pPr>
              <a:defRPr sz="2300"/>
            </a:lvl1pPr>
          </a:lstStyle>
          <a:p>
            <a:r>
              <a:rPr lang="en-US"/>
              <a:t>Click to edit Master title style</a:t>
            </a:r>
          </a:p>
        </p:txBody>
      </p:sp>
      <p:sp>
        <p:nvSpPr>
          <p:cNvPr id="3" name="Content Placeholder 2"/>
          <p:cNvSpPr>
            <a:spLocks noGrp="1"/>
          </p:cNvSpPr>
          <p:nvPr>
            <p:ph idx="1"/>
          </p:nvPr>
        </p:nvSpPr>
        <p:spPr>
          <a:xfrm>
            <a:off x="187057" y="1233488"/>
            <a:ext cx="11817888" cy="5256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sz="1200"/>
            </a:lvl1pPr>
          </a:lstStyle>
          <a:p>
            <a:fld id="{A65E4EDC-57F8-4D5C-B13E-A981C5F2F71A}" type="slidenum">
              <a:rPr lang="en-GB" smtClean="0"/>
              <a:pPr/>
              <a:t>‹#›</a:t>
            </a:fld>
            <a:endParaRPr lang="en-GB"/>
          </a:p>
        </p:txBody>
      </p:sp>
      <p:sp>
        <p:nvSpPr>
          <p:cNvPr id="8" name="Text Placeholder 7">
            <a:extLst>
              <a:ext uri="{FF2B5EF4-FFF2-40B4-BE49-F238E27FC236}">
                <a16:creationId xmlns:a16="http://schemas.microsoft.com/office/drawing/2014/main" xmlns="" id="{D25184CD-A2F1-4EC8-A326-3D39AFC0BC76}"/>
              </a:ext>
            </a:extLst>
          </p:cNvPr>
          <p:cNvSpPr>
            <a:spLocks noGrp="1"/>
          </p:cNvSpPr>
          <p:nvPr>
            <p:ph type="body" sz="quarter" idx="13"/>
          </p:nvPr>
        </p:nvSpPr>
        <p:spPr>
          <a:xfrm>
            <a:off x="187056" y="6568073"/>
            <a:ext cx="9454798" cy="287338"/>
          </a:xfrm>
        </p:spPr>
        <p:txBody>
          <a:bodyPr>
            <a:normAutofit/>
          </a:bodyPr>
          <a:lstStyle>
            <a:lvl1pPr marL="0" indent="0">
              <a:buNone/>
              <a:defRPr sz="1200">
                <a:solidFill>
                  <a:schemeClr val="bg1">
                    <a:lumMod val="50000"/>
                  </a:schemeClr>
                </a:solidFill>
              </a:defRPr>
            </a:lvl1pPr>
          </a:lstStyle>
          <a:p>
            <a:pPr lvl="0"/>
            <a:endParaRPr lang="en-GB"/>
          </a:p>
        </p:txBody>
      </p:sp>
    </p:spTree>
    <p:extLst>
      <p:ext uri="{BB962C8B-B14F-4D97-AF65-F5344CB8AC3E}">
        <p14:creationId xmlns:p14="http://schemas.microsoft.com/office/powerpoint/2010/main" val="2581605310"/>
      </p:ext>
    </p:extLst>
  </p:cSld>
  <p:clrMapOvr>
    <a:masterClrMapping/>
  </p:clrMapOvr>
  <p:extLst mod="1">
    <p:ext uri="{DCECCB84-F9BA-43D5-87BE-67443E8EF086}">
      <p15:sldGuideLst xmlns:p15="http://schemas.microsoft.com/office/powerpoint/2012/main">
        <p15:guide id="1" orient="horz" pos="2160">
          <p15:clr>
            <a:srgbClr val="FBAE40"/>
          </p15:clr>
        </p15:guide>
        <p15:guide id="2" pos="365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4E2FFAA-25BE-47A2-A60E-349BE354A8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D"/>
          </a:p>
        </p:txBody>
      </p:sp>
      <p:sp>
        <p:nvSpPr>
          <p:cNvPr id="3" name="Subtitle 2">
            <a:extLst>
              <a:ext uri="{FF2B5EF4-FFF2-40B4-BE49-F238E27FC236}">
                <a16:creationId xmlns="" xmlns:a16="http://schemas.microsoft.com/office/drawing/2014/main" id="{993DAA34-980C-44A0-9965-D1AF72E12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D"/>
          </a:p>
        </p:txBody>
      </p:sp>
    </p:spTree>
    <p:extLst>
      <p:ext uri="{BB962C8B-B14F-4D97-AF65-F5344CB8AC3E}">
        <p14:creationId xmlns:p14="http://schemas.microsoft.com/office/powerpoint/2010/main" val="134595057"/>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5943E93-BC38-4864-A0B9-1D0652470EC7}"/>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0804DEF6-B94F-4858-A2BA-F37F3A9A606E}"/>
              </a:ext>
            </a:extLst>
          </p:cNvPr>
          <p:cNvSpPr>
            <a:spLocks noGrp="1"/>
          </p:cNvSpPr>
          <p:nvPr>
            <p:ph idx="1"/>
          </p:nvPr>
        </p:nvSpPr>
        <p:spPr>
          <a:xfrm>
            <a:off x="533400" y="1825624"/>
            <a:ext cx="111252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3" name="Rectangle 12">
            <a:extLst>
              <a:ext uri="{FF2B5EF4-FFF2-40B4-BE49-F238E27FC236}">
                <a16:creationId xmlns="" xmlns:a16="http://schemas.microsoft.com/office/drawing/2014/main" id="{A83CFA3F-9BFB-394E-B024-801F5C16AFBF}"/>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 xmlns:a16="http://schemas.microsoft.com/office/drawing/2014/main" id="{6618A9FD-B820-B240-9420-22134C01C43C}"/>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 xmlns:a16="http://schemas.microsoft.com/office/drawing/2014/main" id="{CBACB319-1A34-0E43-B81E-5DE55CAF099D}"/>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6" name="Straight Connector 15">
            <a:extLst>
              <a:ext uri="{FF2B5EF4-FFF2-40B4-BE49-F238E27FC236}">
                <a16:creationId xmlns="" xmlns:a16="http://schemas.microsoft.com/office/drawing/2014/main" id="{BC8222F1-2A79-4F48-AD19-D3E7155A5973}"/>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38555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EE63D7A-540E-425A-BEF5-69BB8D40BC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D"/>
          </a:p>
        </p:txBody>
      </p:sp>
      <p:sp>
        <p:nvSpPr>
          <p:cNvPr id="3" name="Text Placeholder 2">
            <a:extLst>
              <a:ext uri="{FF2B5EF4-FFF2-40B4-BE49-F238E27FC236}">
                <a16:creationId xmlns="" xmlns:a16="http://schemas.microsoft.com/office/drawing/2014/main" id="{2F3CBEA5-6625-4A00-B51E-8641A4AE23D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147161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DDD00FA-CA57-4FCA-BFA6-C374C16C9DBB}"/>
              </a:ext>
            </a:extLst>
          </p:cNvPr>
          <p:cNvSpPr>
            <a:spLocks noGrp="1"/>
          </p:cNvSpPr>
          <p:nvPr>
            <p:ph type="title"/>
          </p:nvPr>
        </p:nvSpPr>
        <p:spPr/>
        <p:txBody>
          <a:body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FE40965A-09CA-4AA8-9C52-A5770F423454}"/>
              </a:ext>
            </a:extLst>
          </p:cNvPr>
          <p:cNvSpPr>
            <a:spLocks noGrp="1"/>
          </p:cNvSpPr>
          <p:nvPr>
            <p:ph sz="half" idx="1"/>
          </p:nvPr>
        </p:nvSpPr>
        <p:spPr>
          <a:xfrm>
            <a:off x="5334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Content Placeholder 3">
            <a:extLst>
              <a:ext uri="{FF2B5EF4-FFF2-40B4-BE49-F238E27FC236}">
                <a16:creationId xmlns="" xmlns:a16="http://schemas.microsoft.com/office/drawing/2014/main" id="{FE9E6E0D-8C89-4C4D-B2ED-BC0A4867F963}"/>
              </a:ext>
            </a:extLst>
          </p:cNvPr>
          <p:cNvSpPr>
            <a:spLocks noGrp="1"/>
          </p:cNvSpPr>
          <p:nvPr>
            <p:ph sz="half" idx="2"/>
          </p:nvPr>
        </p:nvSpPr>
        <p:spPr>
          <a:xfrm>
            <a:off x="6172200" y="1825624"/>
            <a:ext cx="5486400" cy="4422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1" name="Rectangle 10">
            <a:extLst>
              <a:ext uri="{FF2B5EF4-FFF2-40B4-BE49-F238E27FC236}">
                <a16:creationId xmlns="" xmlns:a16="http://schemas.microsoft.com/office/drawing/2014/main" id="{CCDF1EEE-0E33-4A4C-B856-E1D2CAD41B1D}"/>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A4DADB03-1FEF-B848-8AD4-1107C28DE259}"/>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000A049B-BEAF-8145-AFF0-55736D747D60}"/>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3AC4DCFB-9E5E-4343-B88F-BFF79008DD22}"/>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10083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E1BB064-2B6B-4DB3-B5F2-73FB6436F6E4}"/>
              </a:ext>
            </a:extLst>
          </p:cNvPr>
          <p:cNvSpPr>
            <a:spLocks noGrp="1"/>
          </p:cNvSpPr>
          <p:nvPr>
            <p:ph type="title"/>
          </p:nvPr>
        </p:nvSpPr>
        <p:spPr>
          <a:xfrm>
            <a:off x="533400" y="365125"/>
            <a:ext cx="11128376" cy="1325563"/>
          </a:xfrm>
        </p:spPr>
        <p:txBody>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320364BD-656F-49D4-978C-1EF0460DC833}"/>
              </a:ext>
            </a:extLst>
          </p:cNvPr>
          <p:cNvSpPr>
            <a:spLocks noGrp="1"/>
          </p:cNvSpPr>
          <p:nvPr>
            <p:ph type="body" idx="1"/>
          </p:nvPr>
        </p:nvSpPr>
        <p:spPr>
          <a:xfrm>
            <a:off x="533400" y="1681163"/>
            <a:ext cx="5464175" cy="8370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 xmlns:a16="http://schemas.microsoft.com/office/drawing/2014/main" id="{72CC1E74-B5DE-489B-8062-6F648F39AF21}"/>
              </a:ext>
            </a:extLst>
          </p:cNvPr>
          <p:cNvSpPr>
            <a:spLocks noGrp="1"/>
          </p:cNvSpPr>
          <p:nvPr>
            <p:ph sz="half" idx="2"/>
          </p:nvPr>
        </p:nvSpPr>
        <p:spPr>
          <a:xfrm>
            <a:off x="533400" y="2505074"/>
            <a:ext cx="5464175"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5" name="Text Placeholder 4">
            <a:extLst>
              <a:ext uri="{FF2B5EF4-FFF2-40B4-BE49-F238E27FC236}">
                <a16:creationId xmlns="" xmlns:a16="http://schemas.microsoft.com/office/drawing/2014/main" id="{ACD74AC3-B164-43D5-8EE3-2B3FACE1F05B}"/>
              </a:ext>
            </a:extLst>
          </p:cNvPr>
          <p:cNvSpPr>
            <a:spLocks noGrp="1"/>
          </p:cNvSpPr>
          <p:nvPr>
            <p:ph type="body" sz="quarter" idx="3"/>
          </p:nvPr>
        </p:nvSpPr>
        <p:spPr>
          <a:xfrm>
            <a:off x="6172200" y="1681163"/>
            <a:ext cx="54864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5D59746C-CBAC-4D9D-AFCA-8ED31A88891C}"/>
              </a:ext>
            </a:extLst>
          </p:cNvPr>
          <p:cNvSpPr>
            <a:spLocks noGrp="1"/>
          </p:cNvSpPr>
          <p:nvPr>
            <p:ph sz="quarter" idx="4"/>
          </p:nvPr>
        </p:nvSpPr>
        <p:spPr>
          <a:xfrm>
            <a:off x="6172200" y="2505074"/>
            <a:ext cx="5486400" cy="37433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
        <p:nvSpPr>
          <p:cNvPr id="13" name="Rectangle 12">
            <a:extLst>
              <a:ext uri="{FF2B5EF4-FFF2-40B4-BE49-F238E27FC236}">
                <a16:creationId xmlns="" xmlns:a16="http://schemas.microsoft.com/office/drawing/2014/main" id="{27CBF80B-F7BE-684E-B80A-86103702FD93}"/>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4" name="TextBox 13">
            <a:extLst>
              <a:ext uri="{FF2B5EF4-FFF2-40B4-BE49-F238E27FC236}">
                <a16:creationId xmlns="" xmlns:a16="http://schemas.microsoft.com/office/drawing/2014/main" id="{B7DD9B41-86AC-8F4C-900D-2BDD191394A0}"/>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5" name="TextBox 14">
            <a:extLst>
              <a:ext uri="{FF2B5EF4-FFF2-40B4-BE49-F238E27FC236}">
                <a16:creationId xmlns="" xmlns:a16="http://schemas.microsoft.com/office/drawing/2014/main" id="{29D4882F-7788-6A46-ACDB-A2C45EC5B49B}"/>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2" name="Straight Connector 21">
            <a:extLst>
              <a:ext uri="{FF2B5EF4-FFF2-40B4-BE49-F238E27FC236}">
                <a16:creationId xmlns="" xmlns:a16="http://schemas.microsoft.com/office/drawing/2014/main" id="{687CA224-252A-DB42-9CB3-604E913644B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93324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C9ADFF5-D2DF-4F4C-B84D-A9AF846D83A3}"/>
              </a:ext>
            </a:extLst>
          </p:cNvPr>
          <p:cNvSpPr>
            <a:spLocks noGrp="1"/>
          </p:cNvSpPr>
          <p:nvPr>
            <p:ph type="title"/>
          </p:nvPr>
        </p:nvSpPr>
        <p:spPr/>
        <p:txBody>
          <a:bodyPr/>
          <a:lstStyle/>
          <a:p>
            <a:r>
              <a:rPr lang="en-US"/>
              <a:t>Click to edit Master title style</a:t>
            </a:r>
            <a:endParaRPr lang="en-ID"/>
          </a:p>
        </p:txBody>
      </p:sp>
      <p:sp>
        <p:nvSpPr>
          <p:cNvPr id="15" name="Rectangle 14">
            <a:extLst>
              <a:ext uri="{FF2B5EF4-FFF2-40B4-BE49-F238E27FC236}">
                <a16:creationId xmlns="" xmlns:a16="http://schemas.microsoft.com/office/drawing/2014/main" id="{3479D463-626D-4D34-B749-7F089E12D7C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6" name="TextBox 15">
            <a:extLst>
              <a:ext uri="{FF2B5EF4-FFF2-40B4-BE49-F238E27FC236}">
                <a16:creationId xmlns="" xmlns:a16="http://schemas.microsoft.com/office/drawing/2014/main" id="{081B3419-F562-4556-ADD7-D768E4EA415A}"/>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8" name="TextBox 17">
            <a:extLst>
              <a:ext uri="{FF2B5EF4-FFF2-40B4-BE49-F238E27FC236}">
                <a16:creationId xmlns="" xmlns:a16="http://schemas.microsoft.com/office/drawing/2014/main" id="{EFDD757A-A93F-4A87-AABA-56DAE452BE14}"/>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6" name="Straight Connector 5">
            <a:extLst>
              <a:ext uri="{FF2B5EF4-FFF2-40B4-BE49-F238E27FC236}">
                <a16:creationId xmlns="" xmlns:a16="http://schemas.microsoft.com/office/drawing/2014/main" id="{4B86A402-833A-414F-8B21-CB235D6F827F}"/>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3175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8" name="Rectangle 7">
            <a:extLst>
              <a:ext uri="{FF2B5EF4-FFF2-40B4-BE49-F238E27FC236}">
                <a16:creationId xmlns="" xmlns:a16="http://schemas.microsoft.com/office/drawing/2014/main" id="{E393BA3B-C4DB-9346-8386-CB62A06CFE52}"/>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9" name="TextBox 8">
            <a:extLst>
              <a:ext uri="{FF2B5EF4-FFF2-40B4-BE49-F238E27FC236}">
                <a16:creationId xmlns="" xmlns:a16="http://schemas.microsoft.com/office/drawing/2014/main" id="{034F4A44-6379-C844-B743-22309C4305B4}"/>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0" name="TextBox 9">
            <a:extLst>
              <a:ext uri="{FF2B5EF4-FFF2-40B4-BE49-F238E27FC236}">
                <a16:creationId xmlns="" xmlns:a16="http://schemas.microsoft.com/office/drawing/2014/main" id="{43DCB562-F21B-0C48-ADFD-506D203737A1}"/>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7" name="Straight Connector 16">
            <a:extLst>
              <a:ext uri="{FF2B5EF4-FFF2-40B4-BE49-F238E27FC236}">
                <a16:creationId xmlns="" xmlns:a16="http://schemas.microsoft.com/office/drawing/2014/main" id="{91C8FB76-362B-314B-8CD5-C776CC4E9D5E}"/>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30054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
        <p:nvSpPr>
          <p:cNvPr id="7" name="Rectangle 6">
            <a:extLst>
              <a:ext uri="{FF2B5EF4-FFF2-40B4-BE49-F238E27FC236}">
                <a16:creationId xmlns="" xmlns:a16="http://schemas.microsoft.com/office/drawing/2014/main" id="{3479D463-626D-4D34-B749-7F089E12D7CA}"/>
              </a:ext>
            </a:extLst>
          </p:cNvPr>
          <p:cNvSpPr/>
          <p:nvPr userDrawn="1"/>
        </p:nvSpPr>
        <p:spPr>
          <a:xfrm>
            <a:off x="11202988" y="6438640"/>
            <a:ext cx="455612" cy="41936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fld id="{516E4415-7190-4740-A70C-FF2C4EC25AE3}" type="slidenum">
              <a:rPr kumimoji="0" lang="en-ID" sz="1600" b="0" i="0" u="none" strike="noStrike" kern="0" cap="none" spc="0" normalizeH="0" baseline="0" noProof="0" smtClean="0">
                <a:ln>
                  <a:noFill/>
                </a:ln>
                <a:solidFill>
                  <a:srgbClr val="FFFFFF"/>
                </a:solidFill>
                <a:effectLst/>
                <a:uLnTx/>
                <a:uFillTx/>
                <a:latin typeface="Segoe UI Light"/>
              </a:rPr>
              <a:t>‹#›</a:t>
            </a:fld>
            <a:endParaRPr kumimoji="0" lang="en-ID" sz="1600" b="0" i="0" u="none" strike="noStrike" kern="0" cap="none" spc="0" normalizeH="0" baseline="0" noProof="0" dirty="0" smtClean="0">
              <a:ln>
                <a:noFill/>
              </a:ln>
              <a:solidFill>
                <a:srgbClr val="FFFFFF"/>
              </a:solidFill>
              <a:effectLst/>
              <a:uLnTx/>
              <a:uFillTx/>
              <a:latin typeface="Segoe UI Light"/>
            </a:endParaRPr>
          </a:p>
        </p:txBody>
      </p:sp>
      <p:sp>
        <p:nvSpPr>
          <p:cNvPr id="8" name="TextBox 7">
            <a:extLst>
              <a:ext uri="{FF2B5EF4-FFF2-40B4-BE49-F238E27FC236}">
                <a16:creationId xmlns="" xmlns:a16="http://schemas.microsoft.com/office/drawing/2014/main" id="{EFDD757A-A93F-4A87-AABA-56DAE452BE14}"/>
              </a:ext>
            </a:extLst>
          </p:cNvPr>
          <p:cNvSpPr txBox="1"/>
          <p:nvPr userDrawn="1"/>
        </p:nvSpPr>
        <p:spPr>
          <a:xfrm>
            <a:off x="9277165" y="6561787"/>
            <a:ext cx="1726816" cy="123111"/>
          </a:xfrm>
          <a:prstGeom prst="rect">
            <a:avLst/>
          </a:prstGeom>
          <a:noFill/>
        </p:spPr>
        <p:txBody>
          <a:bodyPr wrap="square" lIns="0" tIns="0" rIns="0" bIns="0" rtlCol="0" anchor="ctr">
            <a:spAutoFit/>
          </a:bodyPr>
          <a:lstStyle/>
          <a:p>
            <a:pPr algn="r"/>
            <a:r>
              <a:rPr lang="en-US" sz="800" dirty="0" smtClean="0">
                <a:solidFill>
                  <a:srgbClr val="FFFFFF">
                    <a:lumMod val="65000"/>
                  </a:srgbClr>
                </a:solidFill>
                <a:latin typeface="Segoe UI Light" panose="020B0502040204020203" pitchFamily="34" charset="0"/>
                <a:cs typeface="Segoe UI Light" panose="020B0502040204020203" pitchFamily="34" charset="0"/>
              </a:rPr>
              <a:t>2020</a:t>
            </a:r>
            <a:r>
              <a:rPr lang="en-US" sz="800" baseline="0" dirty="0" smtClean="0">
                <a:solidFill>
                  <a:srgbClr val="FFFFFF">
                    <a:lumMod val="65000"/>
                  </a:srgbClr>
                </a:solidFill>
                <a:latin typeface="Segoe UI Light" panose="020B0502040204020203" pitchFamily="34" charset="0"/>
                <a:cs typeface="Segoe UI Light" panose="020B0502040204020203" pitchFamily="34" charset="0"/>
              </a:rPr>
              <a:t> STRATEGIC PLANNING SESSION</a:t>
            </a:r>
            <a:endParaRPr lang="en-US" sz="800" dirty="0">
              <a:solidFill>
                <a:srgbClr val="FFFFFF">
                  <a:lumMod val="65000"/>
                </a:srgbClr>
              </a:solidFill>
              <a:latin typeface="Segoe UI Light" panose="020B0502040204020203" pitchFamily="34" charset="0"/>
              <a:cs typeface="Segoe UI Light" panose="020B0502040204020203" pitchFamily="34" charset="0"/>
            </a:endParaRPr>
          </a:p>
        </p:txBody>
      </p:sp>
      <p:cxnSp>
        <p:nvCxnSpPr>
          <p:cNvPr id="9" name="Straight Connector 8">
            <a:extLst>
              <a:ext uri="{FF2B5EF4-FFF2-40B4-BE49-F238E27FC236}">
                <a16:creationId xmlns="" xmlns:a16="http://schemas.microsoft.com/office/drawing/2014/main" id="{4B86A402-833A-414F-8B21-CB235D6F827F}"/>
              </a:ext>
            </a:extLst>
          </p:cNvPr>
          <p:cNvCxnSpPr>
            <a:cxnSpLocks/>
          </p:cNvCxnSpPr>
          <p:nvPr userDrawn="1"/>
        </p:nvCxnSpPr>
        <p:spPr>
          <a:xfrm flipH="1" flipV="1">
            <a:off x="1" y="6648320"/>
            <a:ext cx="9277164" cy="36578"/>
          </a:xfrm>
          <a:prstGeom prst="line">
            <a:avLst/>
          </a:prstGeom>
          <a:noFill/>
          <a:ln w="6350" cap="flat" cmpd="sng" algn="ctr">
            <a:solidFill>
              <a:srgbClr val="FFFFFF">
                <a:lumMod val="85000"/>
              </a:srgbClr>
            </a:solidFill>
            <a:prstDash val="solid"/>
            <a:miter lim="800000"/>
          </a:ln>
          <a:effectLst/>
        </p:spPr>
      </p:cxnSp>
      <p:sp>
        <p:nvSpPr>
          <p:cNvPr id="11" name="Rectangle 10">
            <a:extLst>
              <a:ext uri="{FF2B5EF4-FFF2-40B4-BE49-F238E27FC236}">
                <a16:creationId xmlns="" xmlns:a16="http://schemas.microsoft.com/office/drawing/2014/main" id="{F9EDA4DD-5668-4D40-9FD9-47B3AC01D45D}"/>
              </a:ext>
            </a:extLst>
          </p:cNvPr>
          <p:cNvSpPr/>
          <p:nvPr userDrawn="1"/>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Rounded Rectangle 11">
            <a:extLst>
              <a:ext uri="{FF2B5EF4-FFF2-40B4-BE49-F238E27FC236}">
                <a16:creationId xmlns="" xmlns:a16="http://schemas.microsoft.com/office/drawing/2014/main" id="{3FF68B7E-2A3C-7445-840D-E03AC743B2BC}"/>
              </a:ext>
            </a:extLst>
          </p:cNvPr>
          <p:cNvSpPr/>
          <p:nvPr userDrawn="1"/>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userDrawn="1"/>
        </p:nvCxnSpPr>
        <p:spPr>
          <a:xfrm flipV="1">
            <a:off x="4802819" y="910724"/>
            <a:ext cx="7040607" cy="3676"/>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 xmlns:a16="http://schemas.microsoft.com/office/drawing/2014/main" id="{4430A9AA-BB5E-FF43-8C3E-F42948508E5B}"/>
              </a:ext>
            </a:extLst>
          </p:cNvPr>
          <p:cNvSpPr txBox="1">
            <a:spLocks/>
          </p:cNvSpPr>
          <p:nvPr userDrawn="1"/>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4400" b="1" i="0" u="none" strike="noStrike" kern="1200" cap="none" spc="0" normalizeH="0" baseline="0" noProof="0" dirty="0">
              <a:ln>
                <a:noFill/>
              </a:ln>
              <a:solidFill>
                <a:srgbClr val="000000"/>
              </a:solidFill>
              <a:effectLst/>
              <a:uLnTx/>
              <a:uFillTx/>
              <a:latin typeface="Georgia"/>
            </a:endParaRPr>
          </a:p>
        </p:txBody>
      </p:sp>
    </p:spTree>
    <p:extLst>
      <p:ext uri="{BB962C8B-B14F-4D97-AF65-F5344CB8AC3E}">
        <p14:creationId xmlns:p14="http://schemas.microsoft.com/office/powerpoint/2010/main" val="7047466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1104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7B33DCC-E58D-4E90-BD32-93612EB1017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Content Placeholder 2">
            <a:extLst>
              <a:ext uri="{FF2B5EF4-FFF2-40B4-BE49-F238E27FC236}">
                <a16:creationId xmlns="" xmlns:a16="http://schemas.microsoft.com/office/drawing/2014/main" id="{EFB7CF97-5037-48C8-8243-48B5F78702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4" name="Text Placeholder 3">
            <a:extLst>
              <a:ext uri="{FF2B5EF4-FFF2-40B4-BE49-F238E27FC236}">
                <a16:creationId xmlns="" xmlns:a16="http://schemas.microsoft.com/office/drawing/2014/main" id="{26953ED2-55B1-4F90-9569-25377B50E6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 xmlns:a16="http://schemas.microsoft.com/office/drawing/2014/main" id="{3989266A-499E-2343-B303-4B178C30E570}"/>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2F05756C-735A-1542-A4CF-6C2913A561ED}"/>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5D58A4D1-5981-C340-BAD7-3ED40B65EE05}"/>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119B55FB-0CFF-5E46-A4B3-3D6E62F4E84A}"/>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67526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E03295E-5F2E-469B-B4C3-767643F280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D"/>
          </a:p>
        </p:txBody>
      </p:sp>
      <p:sp>
        <p:nvSpPr>
          <p:cNvPr id="3" name="Picture Placeholder 2">
            <a:extLst>
              <a:ext uri="{FF2B5EF4-FFF2-40B4-BE49-F238E27FC236}">
                <a16:creationId xmlns="" xmlns:a16="http://schemas.microsoft.com/office/drawing/2014/main" id="{3A84A6C5-DA12-455A-81DD-2B5C41D0E99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D"/>
          </a:p>
        </p:txBody>
      </p:sp>
      <p:sp>
        <p:nvSpPr>
          <p:cNvPr id="4" name="Text Placeholder 3">
            <a:extLst>
              <a:ext uri="{FF2B5EF4-FFF2-40B4-BE49-F238E27FC236}">
                <a16:creationId xmlns="" xmlns:a16="http://schemas.microsoft.com/office/drawing/2014/main" id="{A5A59A1D-8CC0-43CE-9EB7-F5DE71D0A3F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Rectangle 10">
            <a:extLst>
              <a:ext uri="{FF2B5EF4-FFF2-40B4-BE49-F238E27FC236}">
                <a16:creationId xmlns="" xmlns:a16="http://schemas.microsoft.com/office/drawing/2014/main" id="{D872BFBD-2615-9640-9703-8EEEC0944B27}"/>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2" name="TextBox 11">
            <a:extLst>
              <a:ext uri="{FF2B5EF4-FFF2-40B4-BE49-F238E27FC236}">
                <a16:creationId xmlns="" xmlns:a16="http://schemas.microsoft.com/office/drawing/2014/main" id="{D55BD58D-CDDC-0B45-BA7A-2D58ACD8E367}"/>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3" name="TextBox 12">
            <a:extLst>
              <a:ext uri="{FF2B5EF4-FFF2-40B4-BE49-F238E27FC236}">
                <a16:creationId xmlns="" xmlns:a16="http://schemas.microsoft.com/office/drawing/2014/main" id="{DDF31592-E398-C448-9356-F7FEFD601356}"/>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20" name="Straight Connector 19">
            <a:extLst>
              <a:ext uri="{FF2B5EF4-FFF2-40B4-BE49-F238E27FC236}">
                <a16:creationId xmlns="" xmlns:a16="http://schemas.microsoft.com/office/drawing/2014/main" id="{FD5EB6E1-447A-E449-9E7F-AD2F2F82B068}"/>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40017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6C3B649-33B5-49E0-AF95-5C2F743605D6}"/>
              </a:ext>
            </a:extLst>
          </p:cNvPr>
          <p:cNvSpPr>
            <a:spLocks noGrp="1"/>
          </p:cNvSpPr>
          <p:nvPr>
            <p:ph type="title"/>
          </p:nvPr>
        </p:nvSpPr>
        <p:spPr/>
        <p:txBody>
          <a:bodyPr/>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DB1F3234-B853-4DD4-ACD3-949D5F2843AC}"/>
              </a:ext>
            </a:extLst>
          </p:cNvPr>
          <p:cNvSpPr>
            <a:spLocks noGrp="1"/>
          </p:cNvSpPr>
          <p:nvPr>
            <p:ph type="body" orient="vert" idx="1"/>
          </p:nvPr>
        </p:nvSpPr>
        <p:spPr>
          <a:xfrm>
            <a:off x="533400" y="1825624"/>
            <a:ext cx="11125200" cy="44227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 xmlns:a16="http://schemas.microsoft.com/office/drawing/2014/main" id="{CCD772A1-19DF-FC40-93B0-113A11233C2C}"/>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 xmlns:a16="http://schemas.microsoft.com/office/drawing/2014/main" id="{60F58FA3-9F95-6E4E-8DB3-1983AF82D083}"/>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 xmlns:a16="http://schemas.microsoft.com/office/drawing/2014/main" id="{F8220442-8EC3-8142-8D68-4D0002EC4B0E}"/>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 xmlns:a16="http://schemas.microsoft.com/office/drawing/2014/main" id="{859C459C-D3A2-F444-AA24-2FF13DDB64C9}"/>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295426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9874D309-A159-49EF-AA30-9AD12AF5DB54}"/>
              </a:ext>
            </a:extLst>
          </p:cNvPr>
          <p:cNvSpPr>
            <a:spLocks noGrp="1"/>
          </p:cNvSpPr>
          <p:nvPr>
            <p:ph type="title" orient="vert"/>
          </p:nvPr>
        </p:nvSpPr>
        <p:spPr>
          <a:xfrm>
            <a:off x="8724900" y="365124"/>
            <a:ext cx="2933700" cy="5883275"/>
          </a:xfrm>
        </p:spPr>
        <p:txBody>
          <a:bodyPr vert="eaVert"/>
          <a:lstStyle/>
          <a:p>
            <a:r>
              <a:rPr lang="en-US"/>
              <a:t>Click to edit Master title style</a:t>
            </a:r>
            <a:endParaRPr lang="en-ID"/>
          </a:p>
        </p:txBody>
      </p:sp>
      <p:sp>
        <p:nvSpPr>
          <p:cNvPr id="3" name="Vertical Text Placeholder 2">
            <a:extLst>
              <a:ext uri="{FF2B5EF4-FFF2-40B4-BE49-F238E27FC236}">
                <a16:creationId xmlns="" xmlns:a16="http://schemas.microsoft.com/office/drawing/2014/main" id="{BC069772-6562-4B91-92CF-F6615BFA124D}"/>
              </a:ext>
            </a:extLst>
          </p:cNvPr>
          <p:cNvSpPr>
            <a:spLocks noGrp="1"/>
          </p:cNvSpPr>
          <p:nvPr>
            <p:ph type="body" orient="vert" idx="1"/>
          </p:nvPr>
        </p:nvSpPr>
        <p:spPr>
          <a:xfrm>
            <a:off x="533400" y="365124"/>
            <a:ext cx="8039100" cy="58832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D"/>
          </a:p>
        </p:txBody>
      </p:sp>
      <p:sp>
        <p:nvSpPr>
          <p:cNvPr id="10" name="Rectangle 9">
            <a:extLst>
              <a:ext uri="{FF2B5EF4-FFF2-40B4-BE49-F238E27FC236}">
                <a16:creationId xmlns="" xmlns:a16="http://schemas.microsoft.com/office/drawing/2014/main" id="{C4F8C710-60E3-E749-A6EB-7EE4C02A26EA}"/>
              </a:ext>
            </a:extLst>
          </p:cNvPr>
          <p:cNvSpPr/>
          <p:nvPr userDrawn="1"/>
        </p:nvSpPr>
        <p:spPr>
          <a:xfrm>
            <a:off x="11202988" y="6438640"/>
            <a:ext cx="455612" cy="419360"/>
          </a:xfrm>
          <a:prstGeom prst="rect">
            <a:avLst/>
          </a:prstGeom>
          <a:solidFill>
            <a:srgbClr val="2340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a:solidFill>
                <a:srgbClr val="FFFFFF"/>
              </a:solidFill>
            </a:endParaRPr>
          </a:p>
        </p:txBody>
      </p:sp>
      <p:sp>
        <p:nvSpPr>
          <p:cNvPr id="11" name="TextBox 10">
            <a:extLst>
              <a:ext uri="{FF2B5EF4-FFF2-40B4-BE49-F238E27FC236}">
                <a16:creationId xmlns="" xmlns:a16="http://schemas.microsoft.com/office/drawing/2014/main" id="{F046843F-F29D-064F-B757-5F1CF13F0C7B}"/>
              </a:ext>
            </a:extLst>
          </p:cNvPr>
          <p:cNvSpPr txBox="1"/>
          <p:nvPr userDrawn="1"/>
        </p:nvSpPr>
        <p:spPr>
          <a:xfrm>
            <a:off x="11264900" y="6571376"/>
            <a:ext cx="331788" cy="153888"/>
          </a:xfrm>
          <a:prstGeom prst="rect">
            <a:avLst/>
          </a:prstGeom>
          <a:noFill/>
        </p:spPr>
        <p:txBody>
          <a:bodyPr wrap="square" lIns="0" tIns="0" rIns="0" bIns="0" rtlCol="0" anchor="ctr">
            <a:spAutoFit/>
          </a:bodyPr>
          <a:lstStyle/>
          <a:p>
            <a:pPr algn="ctr"/>
            <a:fld id="{40876BFF-1584-4FA6-A406-00684317F9C8}" type="slidenum">
              <a:rPr lang="en-US" sz="1000" b="1" smtClean="0">
                <a:solidFill>
                  <a:srgbClr val="FFFFFF"/>
                </a:solidFill>
                <a:latin typeface="Segoe UI" panose="020B0502040204020203" pitchFamily="34" charset="0"/>
                <a:cs typeface="Segoe UI" panose="020B0502040204020203" pitchFamily="34" charset="0"/>
              </a:rPr>
              <a:pPr algn="ctr"/>
              <a:t>‹#›</a:t>
            </a:fld>
            <a:endParaRPr lang="en-US" sz="1000" b="1" dirty="0">
              <a:solidFill>
                <a:srgbClr val="FFFFFF"/>
              </a:solidFill>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 xmlns:a16="http://schemas.microsoft.com/office/drawing/2014/main" id="{64F24F20-2E9E-974F-B756-97AD6FA57349}"/>
              </a:ext>
            </a:extLst>
          </p:cNvPr>
          <p:cNvSpPr txBox="1"/>
          <p:nvPr userDrawn="1"/>
        </p:nvSpPr>
        <p:spPr>
          <a:xfrm>
            <a:off x="9675523" y="6586765"/>
            <a:ext cx="1328458" cy="123111"/>
          </a:xfrm>
          <a:prstGeom prst="rect">
            <a:avLst/>
          </a:prstGeom>
          <a:noFill/>
        </p:spPr>
        <p:txBody>
          <a:bodyPr wrap="square" lIns="0" tIns="0" rIns="0" bIns="0" rtlCol="0" anchor="ctr">
            <a:spAutoFit/>
          </a:bodyPr>
          <a:lstStyle/>
          <a:p>
            <a:pPr algn="r"/>
            <a:r>
              <a:rPr lang="en-US" sz="800" dirty="0">
                <a:solidFill>
                  <a:srgbClr val="FFFFFF">
                    <a:lumMod val="65000"/>
                  </a:srgbClr>
                </a:solidFill>
                <a:cs typeface="Segoe UI Light" panose="020B0502040204020203" pitchFamily="34" charset="0"/>
              </a:rPr>
              <a:t>LEADERSHIP PRESENTATION</a:t>
            </a:r>
          </a:p>
        </p:txBody>
      </p:sp>
      <p:cxnSp>
        <p:nvCxnSpPr>
          <p:cNvPr id="19" name="Straight Connector 18">
            <a:extLst>
              <a:ext uri="{FF2B5EF4-FFF2-40B4-BE49-F238E27FC236}">
                <a16:creationId xmlns="" xmlns:a16="http://schemas.microsoft.com/office/drawing/2014/main" id="{1FDA2B64-5758-0541-A488-9683D27A3A67}"/>
              </a:ext>
            </a:extLst>
          </p:cNvPr>
          <p:cNvCxnSpPr>
            <a:cxnSpLocks/>
          </p:cNvCxnSpPr>
          <p:nvPr userDrawn="1"/>
        </p:nvCxnSpPr>
        <p:spPr>
          <a:xfrm flipH="1">
            <a:off x="0" y="6648320"/>
            <a:ext cx="952976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01185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4672650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
        <p:nvSpPr>
          <p:cNvPr id="7" name="Rectangle 6">
            <a:extLst>
              <a:ext uri="{FF2B5EF4-FFF2-40B4-BE49-F238E27FC236}">
                <a16:creationId xmlns:a16="http://schemas.microsoft.com/office/drawing/2014/main" xmlns="" id="{3479D463-626D-4D34-B749-7F089E12D7CA}"/>
              </a:ext>
            </a:extLst>
          </p:cNvPr>
          <p:cNvSpPr/>
          <p:nvPr userDrawn="1"/>
        </p:nvSpPr>
        <p:spPr>
          <a:xfrm>
            <a:off x="11202988" y="6438640"/>
            <a:ext cx="455612" cy="419360"/>
          </a:xfrm>
          <a:prstGeom prst="rect">
            <a:avLst/>
          </a:prstGeom>
          <a:solidFill>
            <a:srgbClr val="548235"/>
          </a:solidFill>
          <a:ln w="12700" cap="flat" cmpd="sng" algn="ctr">
            <a:noFill/>
            <a:prstDash val="solid"/>
            <a:miter lim="800000"/>
          </a:ln>
          <a:effectLst/>
        </p:spPr>
        <p:txBody>
          <a:bodyPr rtlCol="0" anchor="ctr"/>
          <a:lstStyle/>
          <a:p>
            <a:pPr algn="ctr">
              <a:defRPr/>
            </a:pPr>
            <a:fld id="{516E4415-7190-4740-A70C-FF2C4EC25AE3}" type="slidenum">
              <a:rPr lang="en-ID" sz="1600" kern="0" smtClean="0">
                <a:solidFill>
                  <a:srgbClr val="FFFFFF"/>
                </a:solidFill>
                <a:latin typeface="Segoe UI Light"/>
              </a:rPr>
              <a:pPr algn="ctr">
                <a:defRPr/>
              </a:pPr>
              <a:t>‹#›</a:t>
            </a:fld>
            <a:endParaRPr lang="en-ID" sz="1600" kern="0" dirty="0" smtClean="0">
              <a:solidFill>
                <a:srgbClr val="FFFFFF"/>
              </a:solidFill>
              <a:latin typeface="Segoe UI Light"/>
            </a:endParaRPr>
          </a:p>
        </p:txBody>
      </p:sp>
      <p:sp>
        <p:nvSpPr>
          <p:cNvPr id="8" name="TextBox 7">
            <a:extLst>
              <a:ext uri="{FF2B5EF4-FFF2-40B4-BE49-F238E27FC236}">
                <a16:creationId xmlns:a16="http://schemas.microsoft.com/office/drawing/2014/main" xmlns="" id="{EFDD757A-A93F-4A87-AABA-56DAE452BE14}"/>
              </a:ext>
            </a:extLst>
          </p:cNvPr>
          <p:cNvSpPr txBox="1"/>
          <p:nvPr userDrawn="1"/>
        </p:nvSpPr>
        <p:spPr>
          <a:xfrm>
            <a:off x="9277165" y="6561787"/>
            <a:ext cx="1726816" cy="123111"/>
          </a:xfrm>
          <a:prstGeom prst="rect">
            <a:avLst/>
          </a:prstGeom>
          <a:noFill/>
        </p:spPr>
        <p:txBody>
          <a:bodyPr wrap="square" lIns="0" tIns="0" rIns="0" bIns="0" rtlCol="0" anchor="ctr">
            <a:spAutoFit/>
          </a:bodyPr>
          <a:lstStyle/>
          <a:p>
            <a:pPr algn="r"/>
            <a:r>
              <a:rPr lang="en-US" sz="800" dirty="0" smtClean="0">
                <a:solidFill>
                  <a:srgbClr val="FFFFFF">
                    <a:lumMod val="65000"/>
                  </a:srgbClr>
                </a:solidFill>
                <a:latin typeface="Segoe UI Light" panose="020B0502040204020203" pitchFamily="34" charset="0"/>
                <a:cs typeface="Segoe UI Light" panose="020B0502040204020203" pitchFamily="34" charset="0"/>
              </a:rPr>
              <a:t>2020 STRATEGIC PLANNING SESSION</a:t>
            </a:r>
            <a:endParaRPr lang="en-US" sz="800" dirty="0">
              <a:solidFill>
                <a:srgbClr val="FFFFFF">
                  <a:lumMod val="65000"/>
                </a:srgbClr>
              </a:solidFill>
              <a:latin typeface="Segoe UI Light" panose="020B0502040204020203" pitchFamily="34" charset="0"/>
              <a:cs typeface="Segoe UI Light" panose="020B0502040204020203" pitchFamily="34" charset="0"/>
            </a:endParaRPr>
          </a:p>
        </p:txBody>
      </p:sp>
      <p:cxnSp>
        <p:nvCxnSpPr>
          <p:cNvPr id="9" name="Straight Connector 8">
            <a:extLst>
              <a:ext uri="{FF2B5EF4-FFF2-40B4-BE49-F238E27FC236}">
                <a16:creationId xmlns:a16="http://schemas.microsoft.com/office/drawing/2014/main" xmlns="" id="{4B86A402-833A-414F-8B21-CB235D6F827F}"/>
              </a:ext>
            </a:extLst>
          </p:cNvPr>
          <p:cNvCxnSpPr>
            <a:cxnSpLocks/>
          </p:cNvCxnSpPr>
          <p:nvPr userDrawn="1"/>
        </p:nvCxnSpPr>
        <p:spPr>
          <a:xfrm flipH="1" flipV="1">
            <a:off x="1" y="6648320"/>
            <a:ext cx="9277164" cy="36578"/>
          </a:xfrm>
          <a:prstGeom prst="line">
            <a:avLst/>
          </a:prstGeom>
          <a:noFill/>
          <a:ln w="6350" cap="flat" cmpd="sng" algn="ctr">
            <a:solidFill>
              <a:srgbClr val="FFFFFF">
                <a:lumMod val="85000"/>
              </a:srgbClr>
            </a:solidFill>
            <a:prstDash val="solid"/>
            <a:miter lim="800000"/>
          </a:ln>
          <a:effectLst/>
        </p:spPr>
      </p:cxnSp>
      <p:sp>
        <p:nvSpPr>
          <p:cNvPr id="11" name="Rectangle 10">
            <a:extLst>
              <a:ext uri="{FF2B5EF4-FFF2-40B4-BE49-F238E27FC236}">
                <a16:creationId xmlns:a16="http://schemas.microsoft.com/office/drawing/2014/main" xmlns="" id="{F9EDA4DD-5668-4D40-9FD9-47B3AC01D45D}"/>
              </a:ext>
            </a:extLst>
          </p:cNvPr>
          <p:cNvSpPr/>
          <p:nvPr userDrawn="1"/>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algn="ctr">
              <a:defRPr/>
            </a:pPr>
            <a:endParaRPr lang="en-US" kern="0" smtClean="0">
              <a:solidFill>
                <a:srgbClr val="FFFFFF"/>
              </a:solidFill>
              <a:latin typeface="Segoe UI Light"/>
            </a:endParaRPr>
          </a:p>
        </p:txBody>
      </p:sp>
      <p:sp>
        <p:nvSpPr>
          <p:cNvPr id="12" name="Rounded Rectangle 11">
            <a:extLst>
              <a:ext uri="{FF2B5EF4-FFF2-40B4-BE49-F238E27FC236}">
                <a16:creationId xmlns:a16="http://schemas.microsoft.com/office/drawing/2014/main" xmlns="" id="{3FF68B7E-2A3C-7445-840D-E03AC743B2BC}"/>
              </a:ext>
            </a:extLst>
          </p:cNvPr>
          <p:cNvSpPr/>
          <p:nvPr userDrawn="1"/>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algn="ctr">
              <a:defRPr/>
            </a:pPr>
            <a:endParaRPr lang="en-US" kern="0" smtClean="0">
              <a:solidFill>
                <a:srgbClr val="FFFFFF"/>
              </a:solidFill>
              <a:latin typeface="Segoe UI Light"/>
            </a:endParaRPr>
          </a:p>
        </p:txBody>
      </p:sp>
      <p:cxnSp>
        <p:nvCxnSpPr>
          <p:cNvPr id="13" name="Straight Connector 12">
            <a:extLst>
              <a:ext uri="{FF2B5EF4-FFF2-40B4-BE49-F238E27FC236}">
                <a16:creationId xmlns:a16="http://schemas.microsoft.com/office/drawing/2014/main" xmlns="" id="{D4D9F918-F730-4449-AB3E-2E8143B1A414}"/>
              </a:ext>
            </a:extLst>
          </p:cNvPr>
          <p:cNvCxnSpPr>
            <a:cxnSpLocks/>
          </p:cNvCxnSpPr>
          <p:nvPr userDrawn="1"/>
        </p:nvCxnSpPr>
        <p:spPr>
          <a:xfrm flipV="1">
            <a:off x="4786604" y="910724"/>
            <a:ext cx="7056822" cy="13007"/>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a16="http://schemas.microsoft.com/office/drawing/2014/main" xmlns="" id="{4430A9AA-BB5E-FF43-8C3E-F42948508E5B}"/>
              </a:ext>
            </a:extLst>
          </p:cNvPr>
          <p:cNvSpPr txBox="1">
            <a:spLocks/>
          </p:cNvSpPr>
          <p:nvPr userDrawn="1"/>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defRPr/>
            </a:pPr>
            <a:endParaRPr lang="en-US" dirty="0">
              <a:solidFill>
                <a:srgbClr val="000000"/>
              </a:solidFill>
              <a:latin typeface="Georgia"/>
            </a:endParaRPr>
          </a:p>
        </p:txBody>
      </p:sp>
    </p:spTree>
    <p:extLst>
      <p:ext uri="{BB962C8B-B14F-4D97-AF65-F5344CB8AC3E}">
        <p14:creationId xmlns:p14="http://schemas.microsoft.com/office/powerpoint/2010/main" val="46437255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1156556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4491219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8" name="Footer Placeholder 7"/>
          <p:cNvSpPr>
            <a:spLocks noGrp="1"/>
          </p:cNvSpPr>
          <p:nvPr>
            <p:ph type="ftr" sz="quarter" idx="11"/>
          </p:nvPr>
        </p:nvSpPr>
        <p:spPr/>
        <p:txBody>
          <a:bodyPr/>
          <a:lstStyle/>
          <a:p>
            <a:endParaRPr lang="en-ZA">
              <a:solidFill>
                <a:prstClr val="black">
                  <a:tint val="75000"/>
                </a:prstClr>
              </a:solidFill>
            </a:endParaRPr>
          </a:p>
        </p:txBody>
      </p:sp>
      <p:sp>
        <p:nvSpPr>
          <p:cNvPr id="9" name="Slide Number Placeholder 8"/>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6771360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Z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0E9A891-64E2-48B2-9C5E-81C16EB8C2CB}" type="datetimeFigureOut">
              <a:rPr lang="en-ZA" smtClean="0"/>
              <a:t>2020/10/0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411174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4" name="Footer Placeholder 3"/>
          <p:cNvSpPr>
            <a:spLocks noGrp="1"/>
          </p:cNvSpPr>
          <p:nvPr>
            <p:ph type="ftr" sz="quarter" idx="11"/>
          </p:nvPr>
        </p:nvSpPr>
        <p:spPr/>
        <p:txBody>
          <a:bodyPr/>
          <a:lstStyle/>
          <a:p>
            <a:endParaRPr lang="en-ZA">
              <a:solidFill>
                <a:prstClr val="black">
                  <a:tint val="75000"/>
                </a:prstClr>
              </a:solidFill>
            </a:endParaRPr>
          </a:p>
        </p:txBody>
      </p:sp>
      <p:sp>
        <p:nvSpPr>
          <p:cNvPr id="5" name="Slide Number Placeholder 4"/>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1458640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3" name="Footer Placeholder 2"/>
          <p:cNvSpPr>
            <a:spLocks noGrp="1"/>
          </p:cNvSpPr>
          <p:nvPr>
            <p:ph type="ftr" sz="quarter" idx="11"/>
          </p:nvPr>
        </p:nvSpPr>
        <p:spPr/>
        <p:txBody>
          <a:bodyPr/>
          <a:lstStyle/>
          <a:p>
            <a:endParaRPr lang="en-ZA">
              <a:solidFill>
                <a:prstClr val="black">
                  <a:tint val="75000"/>
                </a:prstClr>
              </a:solidFill>
            </a:endParaRPr>
          </a:p>
        </p:txBody>
      </p:sp>
      <p:sp>
        <p:nvSpPr>
          <p:cNvPr id="4" name="Slide Number Placeholder 3"/>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0522560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8240174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endParaRPr lang="en-ZA">
              <a:solidFill>
                <a:prstClr val="black">
                  <a:tint val="75000"/>
                </a:prstClr>
              </a:solidFill>
            </a:endParaRPr>
          </a:p>
        </p:txBody>
      </p:sp>
      <p:sp>
        <p:nvSpPr>
          <p:cNvPr id="7" name="Slide Number Placeholder 6"/>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27225488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1906342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2124662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Header, Content &amp; Note">
    <p:spTree>
      <p:nvGrpSpPr>
        <p:cNvPr id="1" name=""/>
        <p:cNvGrpSpPr/>
        <p:nvPr/>
      </p:nvGrpSpPr>
      <p:grpSpPr>
        <a:xfrm>
          <a:off x="0" y="0"/>
          <a:ext cx="0" cy="0"/>
          <a:chOff x="0" y="0"/>
          <a:chExt cx="0" cy="0"/>
        </a:xfrm>
      </p:grpSpPr>
      <p:sp>
        <p:nvSpPr>
          <p:cNvPr id="2" name="Title 1"/>
          <p:cNvSpPr>
            <a:spLocks noGrp="1"/>
          </p:cNvSpPr>
          <p:nvPr>
            <p:ph type="title"/>
          </p:nvPr>
        </p:nvSpPr>
        <p:spPr>
          <a:xfrm>
            <a:off x="187057" y="44451"/>
            <a:ext cx="9531405" cy="1013950"/>
          </a:xfrm>
        </p:spPr>
        <p:txBody>
          <a:bodyPr>
            <a:normAutofit/>
          </a:bodyPr>
          <a:lstStyle>
            <a:lvl1pPr>
              <a:defRPr sz="2300"/>
            </a:lvl1pPr>
          </a:lstStyle>
          <a:p>
            <a:r>
              <a:rPr lang="en-US"/>
              <a:t>Click to edit Master title style</a:t>
            </a:r>
          </a:p>
        </p:txBody>
      </p:sp>
      <p:sp>
        <p:nvSpPr>
          <p:cNvPr id="3" name="Content Placeholder 2"/>
          <p:cNvSpPr>
            <a:spLocks noGrp="1"/>
          </p:cNvSpPr>
          <p:nvPr>
            <p:ph idx="1"/>
          </p:nvPr>
        </p:nvSpPr>
        <p:spPr>
          <a:xfrm>
            <a:off x="187057" y="1233488"/>
            <a:ext cx="11817888" cy="525621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lvl1pPr>
              <a:defRPr sz="1200"/>
            </a:lvl1pPr>
          </a:lstStyle>
          <a:p>
            <a:fld id="{A65E4EDC-57F8-4D5C-B13E-A981C5F2F71A}"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a:extLst>
              <a:ext uri="{FF2B5EF4-FFF2-40B4-BE49-F238E27FC236}">
                <a16:creationId xmlns="" xmlns:a16="http://schemas.microsoft.com/office/drawing/2014/main" id="{D25184CD-A2F1-4EC8-A326-3D39AFC0BC76}"/>
              </a:ext>
            </a:extLst>
          </p:cNvPr>
          <p:cNvSpPr>
            <a:spLocks noGrp="1"/>
          </p:cNvSpPr>
          <p:nvPr>
            <p:ph type="body" sz="quarter" idx="13"/>
          </p:nvPr>
        </p:nvSpPr>
        <p:spPr>
          <a:xfrm>
            <a:off x="187056" y="6568073"/>
            <a:ext cx="9454798" cy="287338"/>
          </a:xfrm>
        </p:spPr>
        <p:txBody>
          <a:bodyPr>
            <a:normAutofit/>
          </a:bodyPr>
          <a:lstStyle>
            <a:lvl1pPr marL="0" indent="0">
              <a:buNone/>
              <a:defRPr sz="1200">
                <a:solidFill>
                  <a:schemeClr val="bg1">
                    <a:lumMod val="50000"/>
                  </a:schemeClr>
                </a:solidFill>
              </a:defRPr>
            </a:lvl1pPr>
          </a:lstStyle>
          <a:p>
            <a:pPr lvl="0"/>
            <a:endParaRPr lang="en-GB"/>
          </a:p>
        </p:txBody>
      </p:sp>
    </p:spTree>
    <p:extLst>
      <p:ext uri="{BB962C8B-B14F-4D97-AF65-F5344CB8AC3E}">
        <p14:creationId xmlns:p14="http://schemas.microsoft.com/office/powerpoint/2010/main" val="3887931930"/>
      </p:ext>
    </p:extLst>
  </p:cSld>
  <p:clrMapOvr>
    <a:masterClrMapping/>
  </p:clrMapOvr>
  <p:extLst mod="1">
    <p:ext uri="{DCECCB84-F9BA-43D5-87BE-67443E8EF086}">
      <p15:sldGuideLst xmlns:p15="http://schemas.microsoft.com/office/powerpoint/2012/main">
        <p15:guide id="4294967295" orient="horz" pos="2160">
          <p15:clr>
            <a:srgbClr val="FBAE40"/>
          </p15:clr>
        </p15:guide>
        <p15:guide id="4294967295" pos="365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446746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Z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00E9A891-64E2-48B2-9C5E-81C16EB8C2CB}" type="datetimeFigureOut">
              <a:rPr lang="en-ZA" smtClean="0"/>
              <a:t>2020/10/07</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4174908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00E9A891-64E2-48B2-9C5E-81C16EB8C2CB}" type="datetimeFigureOut">
              <a:rPr lang="en-ZA" smtClean="0"/>
              <a:t>2020/10/07</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88436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E9A891-64E2-48B2-9C5E-81C16EB8C2CB}" type="datetimeFigureOut">
              <a:rPr lang="en-ZA" smtClean="0"/>
              <a:t>2020/10/07</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9700997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33589076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Z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0E9A891-64E2-48B2-9C5E-81C16EB8C2CB}" type="datetimeFigureOut">
              <a:rPr lang="en-ZA" smtClean="0"/>
              <a:t>2020/10/07</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8FDC606A-28FD-4A9E-8E1C-5460220D7A80}" type="slidenum">
              <a:rPr lang="en-ZA" smtClean="0"/>
              <a:t>‹#›</a:t>
            </a:fld>
            <a:endParaRPr lang="en-ZA"/>
          </a:p>
        </p:txBody>
      </p:sp>
    </p:spTree>
    <p:extLst>
      <p:ext uri="{BB962C8B-B14F-4D97-AF65-F5344CB8AC3E}">
        <p14:creationId xmlns:p14="http://schemas.microsoft.com/office/powerpoint/2010/main" val="51930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tags" Target="../tags/tag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E9A891-64E2-48B2-9C5E-81C16EB8C2CB}" type="datetimeFigureOut">
              <a:rPr lang="en-ZA" smtClean="0"/>
              <a:t>2020/10/07</a:t>
            </a:fld>
            <a:endParaRPr lang="en-Z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DC606A-28FD-4A9E-8E1C-5460220D7A80}" type="slidenum">
              <a:rPr lang="en-ZA" smtClean="0"/>
              <a:t>‹#›</a:t>
            </a:fld>
            <a:endParaRPr lang="en-ZA"/>
          </a:p>
        </p:txBody>
      </p:sp>
    </p:spTree>
    <p:extLst>
      <p:ext uri="{BB962C8B-B14F-4D97-AF65-F5344CB8AC3E}">
        <p14:creationId xmlns:p14="http://schemas.microsoft.com/office/powerpoint/2010/main" val="428376540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6A607F61-C91A-47FF-BBFB-DF776E24F283}"/>
              </a:ext>
            </a:extLst>
          </p:cNvPr>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4" name="think-cell Slide" r:id="rId17" imgW="383" imgH="384" progId="TCLayout.ActiveDocument.1">
                  <p:embed/>
                </p:oleObj>
              </mc:Choice>
              <mc:Fallback>
                <p:oleObj name="think-cell Slide" r:id="rId17" imgW="383" imgH="38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98082631-599A-467D-B49A-E699D64CA6CB}"/>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400" b="1" dirty="0">
              <a:solidFill>
                <a:srgbClr val="FFFFFF"/>
              </a:solidFill>
              <a:latin typeface="Georgia" panose="02040502050405020303" pitchFamily="18" charset="0"/>
              <a:ea typeface="+mj-ea"/>
              <a:cs typeface="+mj-cs"/>
              <a:sym typeface="Georgia" panose="02040502050405020303" pitchFamily="18" charset="0"/>
            </a:endParaRPr>
          </a:p>
        </p:txBody>
      </p:sp>
      <p:sp>
        <p:nvSpPr>
          <p:cNvPr id="2" name="Title Placeholder 1">
            <a:extLst>
              <a:ext uri="{FF2B5EF4-FFF2-40B4-BE49-F238E27FC236}">
                <a16:creationId xmlns="" xmlns:a16="http://schemas.microsoft.com/office/drawing/2014/main" id="{21DE9C95-668D-4C97-99D8-074E1701B424}"/>
              </a:ext>
            </a:extLst>
          </p:cNvPr>
          <p:cNvSpPr>
            <a:spLocks noGrp="1"/>
          </p:cNvSpPr>
          <p:nvPr>
            <p:ph type="title"/>
          </p:nvPr>
        </p:nvSpPr>
        <p:spPr>
          <a:xfrm>
            <a:off x="533400" y="406400"/>
            <a:ext cx="11125200" cy="889000"/>
          </a:xfrm>
          <a:prstGeom prst="rect">
            <a:avLst/>
          </a:prstGeom>
        </p:spPr>
        <p:txBody>
          <a:bodyPr vert="horz" lIns="91440" tIns="45720" rIns="91440" bIns="45720" rtlCol="0" anchor="ctr">
            <a:normAutofit/>
          </a:bodyPr>
          <a:lstStyle/>
          <a:p>
            <a:r>
              <a:rPr lang="en-US" dirty="0"/>
              <a:t>Click to edit Master title style</a:t>
            </a:r>
            <a:endParaRPr lang="en-ID" dirty="0"/>
          </a:p>
        </p:txBody>
      </p:sp>
      <p:sp>
        <p:nvSpPr>
          <p:cNvPr id="3" name="Text Placeholder 2">
            <a:extLst>
              <a:ext uri="{FF2B5EF4-FFF2-40B4-BE49-F238E27FC236}">
                <a16:creationId xmlns="" xmlns:a16="http://schemas.microsoft.com/office/drawing/2014/main" id="{A2F9BE55-B1B7-4BDF-8E9F-D05E93906AC4}"/>
              </a:ext>
            </a:extLst>
          </p:cNvPr>
          <p:cNvSpPr>
            <a:spLocks noGrp="1"/>
          </p:cNvSpPr>
          <p:nvPr>
            <p:ph type="body" idx="1"/>
          </p:nvPr>
        </p:nvSpPr>
        <p:spPr>
          <a:xfrm>
            <a:off x="533400" y="1524000"/>
            <a:ext cx="11125200" cy="4652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D" dirty="0"/>
          </a:p>
        </p:txBody>
      </p:sp>
    </p:spTree>
    <p:extLst>
      <p:ext uri="{BB962C8B-B14F-4D97-AF65-F5344CB8AC3E}">
        <p14:creationId xmlns:p14="http://schemas.microsoft.com/office/powerpoint/2010/main" val="37168077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egoe UI Light" panose="020B0502040204020203" pitchFamily="34" charset="0"/>
          <a:ea typeface="+mn-ea"/>
          <a:cs typeface="Segoe UI Light"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egoe UI Light" panose="020B0502040204020203" pitchFamily="34" charset="0"/>
          <a:ea typeface="+mn-ea"/>
          <a:cs typeface="Segoe UI Light"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egoe UI Light" panose="020B0502040204020203" pitchFamily="34" charset="0"/>
          <a:ea typeface="+mn-ea"/>
          <a:cs typeface="Segoe UI Light"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egoe UI Light" panose="020B0502040204020203" pitchFamily="34" charset="0"/>
          <a:ea typeface="+mn-ea"/>
          <a:cs typeface="Segoe UI Light"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
          <p15:clr>
            <a:srgbClr val="F26B43"/>
          </p15:clr>
        </p15:guide>
        <p15:guide id="2" pos="7344">
          <p15:clr>
            <a:srgbClr val="F26B43"/>
          </p15:clr>
        </p15:guide>
        <p15:guide id="3" orient="horz" pos="3936">
          <p15:clr>
            <a:srgbClr val="F26B43"/>
          </p15:clr>
        </p15:guide>
        <p15:guide id="4" orient="horz" pos="960">
          <p15:clr>
            <a:srgbClr val="F26B43"/>
          </p15:clr>
        </p15:guide>
        <p15:guide id="5" orient="horz" pos="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0E9A891-64E2-48B2-9C5E-81C16EB8C2CB}" type="datetimeFigureOut">
              <a:rPr lang="en-ZA" smtClean="0">
                <a:solidFill>
                  <a:prstClr val="black">
                    <a:tint val="75000"/>
                  </a:prstClr>
                </a:solidFill>
              </a:rPr>
              <a:pPr/>
              <a:t>2020/10/07</a:t>
            </a:fld>
            <a:endParaRPr lang="en-ZA">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FDC606A-28FD-4A9E-8E1C-5460220D7A80}"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061675333"/>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0.xml"/><Relationship Id="rId5" Type="http://schemas.openxmlformats.org/officeDocument/2006/relationships/image" Target="../media/image3.jp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9.jpg"/><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6.jpg"/><Relationship Id="rId4" Type="http://schemas.openxmlformats.org/officeDocument/2006/relationships/image" Target="../media/image5.jpg"/></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3298" y="0"/>
            <a:ext cx="12192000" cy="6866655"/>
            <a:chOff x="-13298" y="0"/>
            <a:chExt cx="12192000" cy="6866655"/>
          </a:xfrm>
        </p:grpSpPr>
        <p:sp>
          <p:nvSpPr>
            <p:cNvPr id="6" name="Rectangle 5"/>
            <p:cNvSpPr/>
            <p:nvPr/>
          </p:nvSpPr>
          <p:spPr>
            <a:xfrm>
              <a:off x="-13298" y="0"/>
              <a:ext cx="12192000" cy="6866655"/>
            </a:xfrm>
            <a:prstGeom prst="rect">
              <a:avLst/>
            </a:prstGeom>
            <a:blipFill>
              <a:blip r:embed="rId3" cstate="email">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solidFill>
                  <a:srgbClr val="FFFFFF"/>
                </a:solidFill>
              </a:endParaRPr>
            </a:p>
          </p:txBody>
        </p:sp>
        <p:sp>
          <p:nvSpPr>
            <p:cNvPr id="5" name="Rectangle 4">
              <a:extLst>
                <a:ext uri="{FF2B5EF4-FFF2-40B4-BE49-F238E27FC236}">
                  <a16:creationId xmlns:a16="http://schemas.microsoft.com/office/drawing/2014/main" xmlns="" id="{DF200334-FF46-1D40-B2FE-CA974742C6B8}"/>
                </a:ext>
              </a:extLst>
            </p:cNvPr>
            <p:cNvSpPr/>
            <p:nvPr/>
          </p:nvSpPr>
          <p:spPr>
            <a:xfrm>
              <a:off x="-13298" y="3963885"/>
              <a:ext cx="12192000" cy="2902770"/>
            </a:xfrm>
            <a:prstGeom prst="rect">
              <a:avLst/>
            </a:prstGeom>
            <a:gradFill flip="none" rotWithShape="1">
              <a:gsLst>
                <a:gs pos="0">
                  <a:schemeClr val="bg1"/>
                </a:gs>
                <a:gs pos="100000">
                  <a:schemeClr val="bg1">
                    <a:alpha val="59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0" name="Rectangle 9">
              <a:extLst>
                <a:ext uri="{FF2B5EF4-FFF2-40B4-BE49-F238E27FC236}">
                  <a16:creationId xmlns:a16="http://schemas.microsoft.com/office/drawing/2014/main" xmlns="" id="{B1364B69-20F5-6548-883F-0675B1C2D27B}"/>
                </a:ext>
              </a:extLst>
            </p:cNvPr>
            <p:cNvSpPr/>
            <p:nvPr/>
          </p:nvSpPr>
          <p:spPr>
            <a:xfrm>
              <a:off x="3597112" y="0"/>
              <a:ext cx="4639726" cy="61200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a:extLst>
                <a:ext uri="{FF2B5EF4-FFF2-40B4-BE49-F238E27FC236}">
                  <a16:creationId xmlns:a16="http://schemas.microsoft.com/office/drawing/2014/main" xmlns="" id="{DADDC354-7EBE-3548-9016-82A6B02C3C95}"/>
                </a:ext>
              </a:extLst>
            </p:cNvPr>
            <p:cNvSpPr txBox="1">
              <a:spLocks/>
            </p:cNvSpPr>
            <p:nvPr/>
          </p:nvSpPr>
          <p:spPr>
            <a:xfrm>
              <a:off x="3714161" y="4162821"/>
              <a:ext cx="4522676" cy="2215991"/>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00000"/>
                </a:lnSpc>
              </a:pPr>
              <a:r>
                <a:rPr lang="en-US" sz="3600" dirty="0" smtClean="0">
                  <a:solidFill>
                    <a:srgbClr val="FFFFFF"/>
                  </a:solidFill>
                  <a:latin typeface="Georgia"/>
                </a:rPr>
                <a:t>Outcome </a:t>
              </a:r>
              <a:r>
                <a:rPr lang="en-US" sz="3600" dirty="0">
                  <a:solidFill>
                    <a:srgbClr val="FFFFFF"/>
                  </a:solidFill>
                  <a:latin typeface="Georgia"/>
                </a:rPr>
                <a:t>6</a:t>
              </a:r>
              <a:r>
                <a:rPr lang="en-US" sz="3600" dirty="0" smtClean="0">
                  <a:solidFill>
                    <a:srgbClr val="FFFFFF"/>
                  </a:solidFill>
                  <a:latin typeface="Georgia"/>
                </a:rPr>
                <a:t>: High performing ethical </a:t>
              </a:r>
              <a:r>
                <a:rPr lang="en-US" sz="3600" dirty="0" err="1" smtClean="0">
                  <a:solidFill>
                    <a:srgbClr val="FFFFFF"/>
                  </a:solidFill>
                  <a:latin typeface="Georgia"/>
                </a:rPr>
                <a:t>organisation</a:t>
              </a:r>
              <a:r>
                <a:rPr lang="en-US" sz="3600" dirty="0" smtClean="0">
                  <a:solidFill>
                    <a:srgbClr val="FFFFFF"/>
                  </a:solidFill>
                  <a:latin typeface="Georgia"/>
                </a:rPr>
                <a:t> </a:t>
              </a:r>
              <a:endParaRPr lang="en-US" sz="3600" dirty="0">
                <a:solidFill>
                  <a:srgbClr val="FFFFFF"/>
                </a:solidFill>
                <a:latin typeface="Georgia"/>
              </a:endParaRPr>
            </a:p>
            <a:p>
              <a:pPr algn="ctr">
                <a:lnSpc>
                  <a:spcPct val="100000"/>
                </a:lnSpc>
              </a:pPr>
              <a:endParaRPr lang="en-ID" sz="3600" dirty="0">
                <a:solidFill>
                  <a:srgbClr val="FFFFFF"/>
                </a:solidFill>
                <a:latin typeface="Georgia"/>
              </a:endParaRPr>
            </a:p>
          </p:txBody>
        </p:sp>
        <p:cxnSp>
          <p:nvCxnSpPr>
            <p:cNvPr id="12" name="Straight Connector 11">
              <a:extLst>
                <a:ext uri="{FF2B5EF4-FFF2-40B4-BE49-F238E27FC236}">
                  <a16:creationId xmlns:a16="http://schemas.microsoft.com/office/drawing/2014/main" xmlns="" id="{B448019C-7EFB-F54B-AD80-B5CB12A12316}"/>
                </a:ext>
              </a:extLst>
            </p:cNvPr>
            <p:cNvCxnSpPr>
              <a:cxnSpLocks/>
            </p:cNvCxnSpPr>
            <p:nvPr/>
          </p:nvCxnSpPr>
          <p:spPr>
            <a:xfrm flipH="1">
              <a:off x="5028582" y="3962401"/>
              <a:ext cx="34749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52161AD9-4FEA-DE47-AB7A-0D3D9F34C056}"/>
                </a:ext>
              </a:extLst>
            </p:cNvPr>
            <p:cNvCxnSpPr>
              <a:cxnSpLocks/>
            </p:cNvCxnSpPr>
            <p:nvPr/>
          </p:nvCxnSpPr>
          <p:spPr>
            <a:xfrm flipH="1">
              <a:off x="4289475" y="3962401"/>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679" y="6029325"/>
              <a:ext cx="2847975" cy="828675"/>
            </a:xfrm>
            <a:prstGeom prst="rect">
              <a:avLst/>
            </a:prstGeom>
          </p:spPr>
        </p:pic>
        <p:sp>
          <p:nvSpPr>
            <p:cNvPr id="18" name="Title 1">
              <a:extLst>
                <a:ext uri="{FF2B5EF4-FFF2-40B4-BE49-F238E27FC236}">
                  <a16:creationId xmlns:a16="http://schemas.microsoft.com/office/drawing/2014/main" xmlns="" id="{DADDC354-7EBE-3548-9016-82A6B02C3C95}"/>
                </a:ext>
              </a:extLst>
            </p:cNvPr>
            <p:cNvSpPr txBox="1">
              <a:spLocks/>
            </p:cNvSpPr>
            <p:nvPr/>
          </p:nvSpPr>
          <p:spPr>
            <a:xfrm>
              <a:off x="3876071" y="361407"/>
              <a:ext cx="4081806" cy="3223190"/>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gn="ctr">
                <a:lnSpc>
                  <a:spcPct val="150000"/>
                </a:lnSpc>
              </a:pPr>
              <a:r>
                <a:rPr lang="en-US" sz="3600" dirty="0" smtClean="0">
                  <a:solidFill>
                    <a:srgbClr val="FFFFFF"/>
                  </a:solidFill>
                  <a:latin typeface="Georgia"/>
                </a:rPr>
                <a:t>2020 ANNUAL STRATEGIC PLANNING SESSION</a:t>
              </a:r>
              <a:endParaRPr lang="en-ID" sz="3600" dirty="0">
                <a:solidFill>
                  <a:srgbClr val="FFFFFF"/>
                </a:solidFill>
                <a:latin typeface="Georgia"/>
              </a:endParaRPr>
            </a:p>
          </p:txBody>
        </p:sp>
      </p:grpSp>
    </p:spTree>
    <p:extLst>
      <p:ext uri="{BB962C8B-B14F-4D97-AF65-F5344CB8AC3E}">
        <p14:creationId xmlns:p14="http://schemas.microsoft.com/office/powerpoint/2010/main" val="21806605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TextBox 8">
            <a:extLst>
              <a:ext uri="{FF2B5EF4-FFF2-40B4-BE49-F238E27FC236}">
                <a16:creationId xmlns:a16="http://schemas.microsoft.com/office/drawing/2014/main" xmlns="" id="{3D1D2E24-36FA-6149-B377-163EFDF93ABC}"/>
              </a:ext>
            </a:extLst>
          </p:cNvPr>
          <p:cNvSpPr txBox="1"/>
          <p:nvPr/>
        </p:nvSpPr>
        <p:spPr>
          <a:xfrm>
            <a:off x="989160" y="792228"/>
            <a:ext cx="3184006" cy="215444"/>
          </a:xfrm>
          <a:prstGeom prst="rect">
            <a:avLst/>
          </a:prstGeom>
          <a:noFill/>
        </p:spPr>
        <p:txBody>
          <a:bodyPr wrap="square" lIns="0" tIns="0" rIns="0" bIns="0" rtlCol="0" anchor="ctr">
            <a:spAutoFit/>
          </a:bodyPr>
          <a:lstStyle/>
          <a:p>
            <a:pPr>
              <a:spcAft>
                <a:spcPts val="300"/>
              </a:spcAft>
            </a:pPr>
            <a:r>
              <a:rPr lang="da-DK" sz="1400" b="1" dirty="0" smtClean="0">
                <a:solidFill>
                  <a:srgbClr val="FFFFFF"/>
                </a:solidFill>
                <a:latin typeface="Segoe UI Light"/>
                <a:cs typeface="Segoe UI" panose="020B0502040204020203" pitchFamily="34" charset="0"/>
              </a:rPr>
              <a:t>Outcome 1: Improved safety and security</a:t>
            </a:r>
            <a:endParaRPr lang="da-DK" sz="1400" b="1" dirty="0">
              <a:solidFill>
                <a:srgbClr val="FFFFFF"/>
              </a:solidFill>
              <a:latin typeface="Segoe UI Light"/>
              <a:cs typeface="Segoe UI" panose="020B0502040204020203" pitchFamily="34" charset="0"/>
            </a:endParaRPr>
          </a:p>
        </p:txBody>
      </p:sp>
      <p:sp>
        <p:nvSpPr>
          <p:cNvPr id="10" name="Title 1">
            <a:extLst>
              <a:ext uri="{FF2B5EF4-FFF2-40B4-BE49-F238E27FC236}">
                <a16:creationId xmlns:a16="http://schemas.microsoft.com/office/drawing/2014/main" xmlns=""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defRPr/>
            </a:pPr>
            <a:r>
              <a:rPr lang="en-US" sz="4000" dirty="0" smtClean="0">
                <a:solidFill>
                  <a:srgbClr val="000000"/>
                </a:solidFill>
                <a:latin typeface="Georgia"/>
              </a:rPr>
              <a:t>Solution tree</a:t>
            </a:r>
            <a:endParaRPr lang="en-US" sz="4000" dirty="0">
              <a:solidFill>
                <a:srgbClr val="000000"/>
              </a:solidFill>
              <a:latin typeface="Georgia"/>
            </a:endParaRPr>
          </a:p>
        </p:txBody>
      </p:sp>
      <p:graphicFrame>
        <p:nvGraphicFramePr>
          <p:cNvPr id="75" name="Diagram 74"/>
          <p:cNvGraphicFramePr/>
          <p:nvPr>
            <p:extLst/>
          </p:nvPr>
        </p:nvGraphicFramePr>
        <p:xfrm>
          <a:off x="204144" y="1035571"/>
          <a:ext cx="11987856" cy="66262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32974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98644" y="108204"/>
            <a:ext cx="10805012"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3577607954"/>
              </p:ext>
            </p:extLst>
          </p:nvPr>
        </p:nvGraphicFramePr>
        <p:xfrm>
          <a:off x="269136" y="1191764"/>
          <a:ext cx="11574290" cy="5522244"/>
        </p:xfrm>
        <a:graphic>
          <a:graphicData uri="http://schemas.openxmlformats.org/drawingml/2006/table">
            <a:tbl>
              <a:tblPr firstRow="1" firstCol="1" bandRow="1"/>
              <a:tblGrid>
                <a:gridCol w="1890740">
                  <a:extLst>
                    <a:ext uri="{9D8B030D-6E8A-4147-A177-3AD203B41FA5}">
                      <a16:colId xmlns:a16="http://schemas.microsoft.com/office/drawing/2014/main" xmlns="" val="2672124337"/>
                    </a:ext>
                  </a:extLst>
                </a:gridCol>
                <a:gridCol w="3168869">
                  <a:extLst>
                    <a:ext uri="{9D8B030D-6E8A-4147-A177-3AD203B41FA5}">
                      <a16:colId xmlns:a16="http://schemas.microsoft.com/office/drawing/2014/main" xmlns="" val="102369112"/>
                    </a:ext>
                  </a:extLst>
                </a:gridCol>
                <a:gridCol w="1907627">
                  <a:extLst>
                    <a:ext uri="{9D8B030D-6E8A-4147-A177-3AD203B41FA5}">
                      <a16:colId xmlns:a16="http://schemas.microsoft.com/office/drawing/2014/main" xmlns="" val="4122419918"/>
                    </a:ext>
                  </a:extLst>
                </a:gridCol>
                <a:gridCol w="1623849">
                  <a:extLst>
                    <a:ext uri="{9D8B030D-6E8A-4147-A177-3AD203B41FA5}">
                      <a16:colId xmlns:a16="http://schemas.microsoft.com/office/drawing/2014/main" xmlns="" val="1025326353"/>
                    </a:ext>
                  </a:extLst>
                </a:gridCol>
                <a:gridCol w="2983205">
                  <a:extLst>
                    <a:ext uri="{9D8B030D-6E8A-4147-A177-3AD203B41FA5}">
                      <a16:colId xmlns:a16="http://schemas.microsoft.com/office/drawing/2014/main" xmlns="" val="1802985295"/>
                    </a:ext>
                  </a:extLst>
                </a:gridCol>
              </a:tblGrid>
              <a:tr h="245154">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a16="http://schemas.microsoft.com/office/drawing/2014/main" xmlns="" val="2543777863"/>
                  </a:ext>
                </a:extLst>
              </a:tr>
              <a:tr h="1145160">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tx1"/>
                          </a:solidFill>
                          <a:latin typeface="+mj-lt"/>
                          <a:ea typeface="+mn-ea"/>
                          <a:cs typeface="+mn-cs"/>
                        </a:rPr>
                        <a:t>Impact (Strategic Plan)</a:t>
                      </a:r>
                    </a:p>
                    <a:p>
                      <a:pPr marL="0" marR="0" indent="0" algn="l" defTabSz="914400" eaLnBrk="1" fontAlgn="auto" latinLnBrk="0" hangingPunct="1">
                        <a:lnSpc>
                          <a:spcPct val="115000"/>
                        </a:lnSpc>
                        <a:spcBef>
                          <a:spcPts val="0"/>
                        </a:spcBef>
                        <a:spcAft>
                          <a:spcPts val="0"/>
                        </a:spcAft>
                        <a:buClrTx/>
                        <a:buSzTx/>
                        <a:buFontTx/>
                        <a:buNone/>
                        <a:tabLst/>
                        <a:defRPr/>
                      </a:pPr>
                      <a:r>
                        <a:rPr lang="en-US" sz="1400" b="0" i="0" u="none" strike="noStrike" baseline="0" dirty="0" smtClean="0">
                          <a:solidFill>
                            <a:schemeClr val="tx1"/>
                          </a:solidFill>
                          <a:latin typeface="+mj-lt"/>
                          <a:ea typeface="+mn-ea"/>
                          <a:cs typeface="+mn-cs"/>
                        </a:rPr>
                        <a:t>Safe and empowered communities through sustainable economic development </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0" i="0" u="none" strike="noStrike" baseline="0" dirty="0">
                          <a:solidFill>
                            <a:schemeClr val="tx1"/>
                          </a:solidFill>
                          <a:latin typeface="+mj-lt"/>
                          <a:ea typeface="+mn-ea"/>
                          <a:cs typeface="+mn-cs"/>
                        </a:rPr>
                        <a:t> </a:t>
                      </a:r>
                      <a:r>
                        <a:rPr lang="en-GB" sz="1400" b="0" i="0" u="none" strike="noStrike" baseline="0" dirty="0" smtClean="0">
                          <a:solidFill>
                            <a:schemeClr val="tx1"/>
                          </a:solidFill>
                          <a:latin typeface="+mj-lt"/>
                          <a:ea typeface="+mn-ea"/>
                          <a:cs typeface="+mn-cs"/>
                        </a:rPr>
                        <a:t>N/A</a:t>
                      </a: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61030024"/>
                  </a:ext>
                </a:extLst>
              </a:tr>
              <a:tr h="634807">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r>
                        <a:rPr lang="en-GB" sz="1400" b="1" i="0" u="none" strike="noStrike" baseline="0" dirty="0" smtClean="0">
                          <a:solidFill>
                            <a:schemeClr val="tx1"/>
                          </a:solidFill>
                          <a:latin typeface="+mj-lt"/>
                          <a:ea typeface="+mn-ea"/>
                          <a:cs typeface="+mn-cs"/>
                        </a:rPr>
                        <a:t>Outcome (Strategic Plan)</a:t>
                      </a:r>
                      <a:endParaRPr lang="en-US" sz="1400" b="1" i="0" u="none" strike="noStrike" baseline="0" dirty="0" smtClean="0">
                        <a:solidFill>
                          <a:schemeClr val="tx1"/>
                        </a:solidFill>
                        <a:latin typeface="+mj-lt"/>
                        <a:ea typeface="+mn-ea"/>
                        <a:cs typeface="+mn-cs"/>
                      </a:endParaRPr>
                    </a:p>
                    <a:p>
                      <a:r>
                        <a:rPr lang="en-US" sz="1400" b="0" i="0" u="none" strike="noStrike" kern="1200" baseline="0" dirty="0" smtClean="0">
                          <a:solidFill>
                            <a:schemeClr val="tx1"/>
                          </a:solidFill>
                          <a:latin typeface="+mj-lt"/>
                          <a:ea typeface="+mn-ea"/>
                          <a:cs typeface="+mn-cs"/>
                        </a:rPr>
                        <a:t>High performing ethical </a:t>
                      </a:r>
                      <a:r>
                        <a:rPr lang="en-US" sz="1400" b="0" i="0" u="none" strike="noStrike" kern="1200" baseline="0" dirty="0" err="1" smtClean="0">
                          <a:solidFill>
                            <a:schemeClr val="tx1"/>
                          </a:solidFill>
                          <a:latin typeface="+mj-lt"/>
                          <a:ea typeface="+mn-ea"/>
                          <a:cs typeface="+mn-cs"/>
                        </a:rPr>
                        <a:t>organisation</a:t>
                      </a:r>
                      <a:r>
                        <a:rPr lang="en-US" sz="1400" b="0" i="0" u="none" strike="noStrike" kern="1200" baseline="0" dirty="0" smtClean="0">
                          <a:solidFill>
                            <a:schemeClr val="tx1"/>
                          </a:solidFill>
                          <a:latin typeface="+mj-lt"/>
                          <a:ea typeface="+mn-ea"/>
                          <a:cs typeface="+mn-cs"/>
                        </a:rPr>
                        <a:t> </a:t>
                      </a:r>
                      <a:endParaRPr lang="en-GB" sz="1400" b="0" i="0" u="none" strike="noStrike" kern="1200" baseline="0" dirty="0">
                        <a:solidFill>
                          <a:schemeClr val="tx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r>
                        <a:rPr lang="en-ZA" sz="1400" b="0" i="0" u="none" strike="noStrike" kern="1200" cap="none" baseline="0" dirty="0" smtClean="0">
                          <a:solidFill>
                            <a:schemeClr val="tx1"/>
                          </a:solidFill>
                          <a:latin typeface="+mj-lt"/>
                          <a:ea typeface="+mn-ea"/>
                          <a:cs typeface="+mn-cs"/>
                          <a:sym typeface="Arial"/>
                        </a:rPr>
                        <a:t>Percentage of smart technologies implemented (as per MISSTP)</a:t>
                      </a:r>
                      <a:endParaRPr lang="en-GB" sz="1400" b="0" i="0" u="none" strike="noStrike" kern="1200" cap="none" baseline="0" dirty="0">
                        <a:solidFill>
                          <a:schemeClr val="tx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9pPr>
                    </a:lstStyle>
                    <a:p>
                      <a:r>
                        <a:rPr lang="en-ZA" sz="1400" b="0" i="0" u="none" strike="noStrike" kern="1200" cap="none" baseline="0" dirty="0" smtClean="0">
                          <a:solidFill>
                            <a:schemeClr val="tx1"/>
                          </a:solidFill>
                          <a:latin typeface="+mj-lt"/>
                          <a:ea typeface="+mn-ea"/>
                          <a:cs typeface="+mn-cs"/>
                          <a:sym typeface="Arial"/>
                        </a:rPr>
                        <a:t>Master Information System Plan and Enterprise Architecture Business Case</a:t>
                      </a:r>
                      <a:endParaRPr lang="en-GB" sz="1400" b="0" i="0" u="none" strike="noStrike" kern="1200" cap="none" baseline="0" dirty="0">
                        <a:solidFill>
                          <a:schemeClr val="tx1"/>
                        </a:solidFill>
                        <a:latin typeface="+mj-lt"/>
                        <a:ea typeface="+mn-ea"/>
                        <a:cs typeface="+mn-cs"/>
                        <a:sym typeface="Arial"/>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Calibri Light"/>
                          <a:ea typeface=""/>
                          <a:cs typeface=""/>
                          <a:sym typeface="Arial"/>
                        </a:defRPr>
                      </a:lvl9pPr>
                    </a:lstStyle>
                    <a:p>
                      <a:r>
                        <a:rPr lang="en-ZA" sz="1400" b="0" i="0" u="none" strike="noStrike" kern="1200" cap="none" baseline="0" dirty="0" smtClean="0">
                          <a:solidFill>
                            <a:schemeClr val="tx1"/>
                          </a:solidFill>
                          <a:latin typeface="+mj-lt"/>
                          <a:ea typeface="+mn-ea"/>
                          <a:cs typeface="+mn-cs"/>
                          <a:sym typeface="Arial"/>
                        </a:rPr>
                        <a:t>100% implementation of smart technologies (as per MISSTP)</a:t>
                      </a:r>
                      <a:endParaRPr lang="en-GB" sz="1400" b="0" i="0" u="none" strike="noStrike" kern="1200" cap="none" baseline="0" dirty="0">
                        <a:solidFill>
                          <a:schemeClr val="tx1"/>
                        </a:solidFill>
                        <a:latin typeface="+mj-lt"/>
                        <a:ea typeface="+mn-ea"/>
                        <a:cs typeface="+mn-cs"/>
                        <a:sym typeface="Arial"/>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US" sz="1400" b="0" i="0" u="none" strike="noStrike" kern="1200" cap="none" baseline="0" dirty="0" smtClean="0">
                          <a:solidFill>
                            <a:schemeClr val="tx1"/>
                          </a:solidFill>
                          <a:latin typeface="+mj-lt"/>
                          <a:ea typeface="+mn-ea"/>
                          <a:cs typeface="+mn-cs"/>
                        </a:rPr>
                        <a:t>MTEF budget allocations in line with the service delivery requirements of the Department</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31309451"/>
                  </a:ext>
                </a:extLst>
              </a:tr>
              <a:tr h="458892">
                <a:tc rowSpan="5">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tx1"/>
                          </a:solidFill>
                          <a:latin typeface="+mj-lt"/>
                          <a:ea typeface="+mn-ea"/>
                          <a:cs typeface="+mn-cs"/>
                        </a:rPr>
                        <a:t>Output (current)</a:t>
                      </a:r>
                    </a:p>
                    <a:p>
                      <a:pPr algn="l">
                        <a:lnSpc>
                          <a:spcPct val="115000"/>
                        </a:lnSpc>
                        <a:spcAft>
                          <a:spcPts val="0"/>
                        </a:spcAft>
                      </a:pPr>
                      <a:r>
                        <a:rPr lang="en-US" sz="1400" b="0" i="0" u="none" strike="noStrike" kern="1200" cap="none" baseline="0" dirty="0" err="1" smtClean="0">
                          <a:solidFill>
                            <a:schemeClr val="tx1"/>
                          </a:solidFill>
                          <a:latin typeface="+mj-lt"/>
                          <a:ea typeface="+mn-ea"/>
                          <a:cs typeface="+mn-cs"/>
                        </a:rPr>
                        <a:t>Modernised</a:t>
                      </a:r>
                      <a:r>
                        <a:rPr lang="en-US" sz="1400" b="0" i="0" u="none" strike="noStrike" kern="1200" cap="none" baseline="0" dirty="0" smtClean="0">
                          <a:solidFill>
                            <a:schemeClr val="tx1"/>
                          </a:solidFill>
                          <a:latin typeface="+mj-lt"/>
                          <a:ea typeface="+mn-ea"/>
                          <a:cs typeface="+mn-cs"/>
                        </a:rPr>
                        <a:t>, secure and integrated Information Communications and Security Technologies, infrastructure and Systems</a:t>
                      </a: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a:solidFill>
                            <a:schemeClr val="tx1"/>
                          </a:solidFill>
                          <a:latin typeface="+mj-lt"/>
                          <a:ea typeface="+mn-ea"/>
                          <a:cs typeface="+mn-cs"/>
                          <a:sym typeface="Arial"/>
                        </a:rPr>
                        <a:t>Number of sites where Mesh network and integrated security system are installed (ISS)</a:t>
                      </a:r>
                      <a:endParaRPr lang="en-ZA" sz="1400" b="0" i="0" u="none" strike="noStrike" kern="1200" cap="none" baseline="0">
                        <a:solidFill>
                          <a:schemeClr val="tx1"/>
                        </a:solidFill>
                        <a:latin typeface="+mj-lt"/>
                        <a:ea typeface="+mn-ea"/>
                        <a:cs typeface="+mn-cs"/>
                        <a:sym typeface="Arial"/>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ZA" sz="1400" b="0" i="0" u="none" strike="noStrike" kern="1200" cap="none" baseline="0" dirty="0" smtClean="0">
                          <a:solidFill>
                            <a:schemeClr val="tx1"/>
                          </a:solidFill>
                          <a:latin typeface="+mj-lt"/>
                          <a:ea typeface="+mn-ea"/>
                          <a:cs typeface="+mn-cs"/>
                          <a:sym typeface="Arial"/>
                        </a:rPr>
                        <a:t>5</a:t>
                      </a:r>
                    </a:p>
                    <a:p>
                      <a:pPr>
                        <a:lnSpc>
                          <a:spcPct val="115000"/>
                        </a:lnSpc>
                        <a:spcAft>
                          <a:spcPts val="0"/>
                        </a:spcAft>
                      </a:pPr>
                      <a:r>
                        <a:rPr lang="en-GB" sz="1400" b="0" i="0" u="none" strike="noStrike" kern="1200" cap="none" baseline="0" dirty="0" smtClean="0">
                          <a:solidFill>
                            <a:schemeClr val="tx1"/>
                          </a:solidFill>
                          <a:latin typeface="+mj-lt"/>
                          <a:ea typeface="+mn-ea"/>
                          <a:cs typeface="+mn-cs"/>
                          <a:sym typeface="Arial"/>
                        </a:rPr>
                        <a:t> </a:t>
                      </a:r>
                      <a:endParaRPr lang="en-ZA" sz="1400" b="0" i="0" u="none" strike="noStrike" kern="1200" cap="none" baseline="0" dirty="0">
                        <a:solidFill>
                          <a:schemeClr val="tx1"/>
                        </a:solidFill>
                        <a:latin typeface="+mj-lt"/>
                        <a:ea typeface="+mn-ea"/>
                        <a:cs typeface="+mn-cs"/>
                        <a:sym typeface="Arial"/>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7000"/>
                        </a:lnSpc>
                        <a:spcAft>
                          <a:spcPts val="0"/>
                        </a:spcAft>
                      </a:pPr>
                      <a:r>
                        <a:rPr lang="en-ZA" sz="1400" b="0" i="0" u="none" strike="noStrike" kern="1200" cap="none" baseline="0" dirty="0" smtClean="0">
                          <a:solidFill>
                            <a:schemeClr val="tx1"/>
                          </a:solidFill>
                          <a:latin typeface="+mj-lt"/>
                          <a:ea typeface="+mn-ea"/>
                          <a:cs typeface="+mn-cs"/>
                          <a:sym typeface="Arial"/>
                        </a:rPr>
                        <a:t>10</a:t>
                      </a:r>
                      <a:endParaRPr lang="en-ZA" sz="1400" b="0" i="0" u="none" strike="noStrike" kern="1200" cap="none" baseline="0" dirty="0">
                        <a:solidFill>
                          <a:schemeClr val="tx1"/>
                        </a:solidFill>
                        <a:latin typeface="+mj-lt"/>
                        <a:ea typeface="+mn-ea"/>
                        <a:cs typeface="+mn-cs"/>
                        <a:sym typeface="Arial"/>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rowSpan="5">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1248254"/>
                  </a:ext>
                </a:extLst>
              </a:tr>
              <a:tr h="592474">
                <a:tc vMerge="1">
                  <a:txBody>
                    <a:bodyPr/>
                    <a:lstStyle/>
                    <a:p>
                      <a:endParaRPr lang="en-ZA"/>
                    </a:p>
                  </a:txBody>
                  <a:tcPr/>
                </a:tc>
                <a:tc>
                  <a:txBody>
                    <a:bodyPr/>
                    <a:lstStyle/>
                    <a:p>
                      <a:pPr>
                        <a:lnSpc>
                          <a:spcPct val="115000"/>
                        </a:lnSpc>
                        <a:spcAft>
                          <a:spcPts val="0"/>
                        </a:spcAft>
                      </a:pPr>
                      <a:r>
                        <a:rPr lang="en-GB" sz="1400" b="0" i="0" u="none" strike="noStrike" kern="1200" cap="none" baseline="0" dirty="0">
                          <a:solidFill>
                            <a:schemeClr val="tx1"/>
                          </a:solidFill>
                          <a:latin typeface="+mj-lt"/>
                          <a:ea typeface="+mn-ea"/>
                          <a:cs typeface="+mn-cs"/>
                          <a:sym typeface="Arial"/>
                        </a:rPr>
                        <a:t>Number of sites where sensing and surveillance system are installed </a:t>
                      </a:r>
                      <a:endParaRPr lang="en-ZA" sz="1400" b="0" i="0" u="none" strike="noStrike" kern="1200" cap="none" baseline="0" dirty="0">
                        <a:solidFill>
                          <a:schemeClr val="tx1"/>
                        </a:solidFill>
                        <a:latin typeface="+mj-lt"/>
                        <a:ea typeface="+mn-ea"/>
                        <a:cs typeface="+mn-cs"/>
                        <a:sym typeface="Arial"/>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ZA" sz="1400" b="0" i="0" u="none" strike="noStrike" kern="1200" cap="none" baseline="0" dirty="0" smtClean="0">
                          <a:solidFill>
                            <a:schemeClr val="tx1"/>
                          </a:solidFill>
                          <a:latin typeface="+mj-lt"/>
                          <a:ea typeface="+mn-ea"/>
                          <a:cs typeface="+mn-cs"/>
                          <a:sym typeface="Arial"/>
                        </a:rPr>
                        <a:t>5</a:t>
                      </a:r>
                      <a:r>
                        <a:rPr lang="en-GB" sz="1400" b="0" i="0" u="none" strike="noStrike" kern="1200" cap="none" baseline="0" dirty="0" smtClean="0">
                          <a:solidFill>
                            <a:schemeClr val="tx1"/>
                          </a:solidFill>
                          <a:latin typeface="+mj-lt"/>
                          <a:ea typeface="+mn-ea"/>
                          <a:cs typeface="+mn-cs"/>
                          <a:sym typeface="Arial"/>
                        </a:rPr>
                        <a:t>  </a:t>
                      </a:r>
                      <a:endParaRPr lang="en-ZA" sz="1400" b="0" i="0" u="none" strike="noStrike" kern="1200" cap="none" baseline="0" dirty="0">
                        <a:solidFill>
                          <a:schemeClr val="tx1"/>
                        </a:solidFill>
                        <a:latin typeface="+mj-lt"/>
                        <a:ea typeface="+mn-ea"/>
                        <a:cs typeface="+mn-cs"/>
                        <a:sym typeface="Arial"/>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en-ZA" sz="1400" b="0" i="0" u="none" strike="noStrike" kern="1200" cap="none" baseline="0" dirty="0" smtClean="0">
                          <a:solidFill>
                            <a:schemeClr val="tx1"/>
                          </a:solidFill>
                          <a:latin typeface="+mj-lt"/>
                          <a:ea typeface="+mn-ea"/>
                          <a:cs typeface="+mn-cs"/>
                          <a:sym typeface="Arial"/>
                        </a:rPr>
                        <a:t>10</a:t>
                      </a:r>
                      <a:endParaRPr lang="en-ZA" sz="1400" b="0" i="0" u="none" strike="noStrike" kern="1200" cap="none" baseline="0" dirty="0">
                        <a:solidFill>
                          <a:schemeClr val="tx1"/>
                        </a:solidFill>
                        <a:latin typeface="+mj-lt"/>
                        <a:ea typeface="+mn-ea"/>
                        <a:cs typeface="+mn-cs"/>
                        <a:sym typeface="Arial"/>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00441">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dirty="0">
                          <a:solidFill>
                            <a:schemeClr val="tx1"/>
                          </a:solidFill>
                          <a:latin typeface="+mj-lt"/>
                          <a:ea typeface="+mn-ea"/>
                          <a:cs typeface="+mn-cs"/>
                          <a:sym typeface="Arial"/>
                        </a:rPr>
                        <a:t>Number of sites where Inmate Communications systems are installed</a:t>
                      </a:r>
                      <a:endParaRPr lang="en-ZA" sz="1400" b="0" i="0" u="none" strike="noStrike" kern="1200" cap="none" baseline="0" dirty="0">
                        <a:solidFill>
                          <a:schemeClr val="tx1"/>
                        </a:solidFill>
                        <a:latin typeface="+mj-lt"/>
                        <a:ea typeface="+mn-ea"/>
                        <a:cs typeface="+mn-cs"/>
                        <a:sym typeface="Arial"/>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dirty="0" smtClean="0">
                          <a:solidFill>
                            <a:schemeClr val="tx1"/>
                          </a:solidFill>
                          <a:latin typeface="+mj-lt"/>
                          <a:ea typeface="+mn-ea"/>
                          <a:cs typeface="+mn-cs"/>
                          <a:sym typeface="Arial"/>
                        </a:rPr>
                        <a:t>5</a:t>
                      </a:r>
                      <a:endParaRPr lang="en-ZA" sz="1400" b="0" i="0" u="none" strike="noStrike" kern="1200" cap="none" baseline="0" dirty="0">
                        <a:solidFill>
                          <a:schemeClr val="tx1"/>
                        </a:solidFill>
                        <a:latin typeface="+mj-lt"/>
                        <a:ea typeface="+mn-ea"/>
                        <a:cs typeface="+mn-cs"/>
                        <a:sym typeface="Arial"/>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dirty="0" smtClean="0">
                          <a:solidFill>
                            <a:schemeClr val="tx1"/>
                          </a:solidFill>
                          <a:latin typeface="+mj-lt"/>
                          <a:ea typeface="+mn-ea"/>
                          <a:cs typeface="+mn-cs"/>
                          <a:sym typeface="Arial"/>
                        </a:rPr>
                        <a:t>10</a:t>
                      </a:r>
                      <a:endParaRPr lang="en-ZA" sz="1400" b="0" i="0" u="none" strike="noStrike" kern="1200" cap="none" baseline="0" dirty="0">
                        <a:solidFill>
                          <a:schemeClr val="tx1"/>
                        </a:solidFill>
                        <a:latin typeface="+mj-lt"/>
                        <a:ea typeface="+mn-ea"/>
                        <a:cs typeface="+mn-cs"/>
                        <a:sym typeface="Arial"/>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599090">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a:solidFill>
                            <a:schemeClr val="tx1"/>
                          </a:solidFill>
                          <a:latin typeface="+mj-lt"/>
                          <a:ea typeface="+mn-ea"/>
                          <a:cs typeface="+mn-cs"/>
                        </a:rPr>
                        <a:t>Percentage of sites installed with network infrastructure</a:t>
                      </a:r>
                      <a:endParaRPr lang="en-ZA" sz="1400" b="0" i="0" u="none" strike="noStrike" kern="1200" cap="none" baseline="0">
                        <a:solidFill>
                          <a:schemeClr val="tx1"/>
                        </a:solidFill>
                        <a:latin typeface="+mj-lt"/>
                        <a:ea typeface="+mn-ea"/>
                        <a:cs typeface="+mn-cs"/>
                      </a:endParaRPr>
                    </a:p>
                  </a:txBody>
                  <a:tcPr marL="9525" marR="9525"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dirty="0">
                          <a:solidFill>
                            <a:schemeClr val="tx1"/>
                          </a:solidFill>
                          <a:latin typeface="+mj-lt"/>
                          <a:ea typeface="+mn-ea"/>
                          <a:cs typeface="+mn-cs"/>
                        </a:rPr>
                        <a:t>48.6%  </a:t>
                      </a:r>
                      <a:endParaRPr lang="en-ZA" sz="1400" b="0" i="0" u="none" strike="noStrike" kern="1200" cap="none"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a:solidFill>
                            <a:schemeClr val="tx1"/>
                          </a:solidFill>
                          <a:latin typeface="+mj-lt"/>
                          <a:ea typeface="+mn-ea"/>
                          <a:cs typeface="+mn-cs"/>
                        </a:rPr>
                        <a:t>55.6%</a:t>
                      </a:r>
                      <a:endParaRPr lang="en-ZA" sz="1400" b="0" i="0" u="none" strike="noStrike" kern="1200" cap="none"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67558">
                <a:tc vMerge="1">
                  <a:txBody>
                    <a:bodyPr/>
                    <a:lstStyle/>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05000"/>
                        </a:lnSpc>
                        <a:spcAft>
                          <a:spcPts val="0"/>
                        </a:spcAft>
                      </a:pPr>
                      <a:r>
                        <a:rPr lang="en-GB" sz="1400" b="0" i="0" u="none" strike="noStrike" kern="1200" cap="none" baseline="0" dirty="0">
                          <a:solidFill>
                            <a:schemeClr val="tx1"/>
                          </a:solidFill>
                          <a:latin typeface="+mj-lt"/>
                          <a:ea typeface="+mn-ea"/>
                          <a:cs typeface="+mn-cs"/>
                        </a:rPr>
                        <a:t>Percentage of Information Systems (IIMS) implemented as per MISSTP</a:t>
                      </a:r>
                      <a:endParaRPr lang="en-ZA" sz="1400" b="0" i="0" u="none" strike="noStrike" kern="1200" cap="none" baseline="0" dirty="0">
                        <a:solidFill>
                          <a:schemeClr val="tx1"/>
                        </a:solidFill>
                        <a:latin typeface="+mj-lt"/>
                        <a:ea typeface="+mn-ea"/>
                        <a:cs typeface="+mn-cs"/>
                      </a:endParaRPr>
                    </a:p>
                  </a:txBody>
                  <a:tcPr marL="9525" marR="9525"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a:solidFill>
                            <a:schemeClr val="tx1"/>
                          </a:solidFill>
                          <a:latin typeface="+mj-lt"/>
                          <a:ea typeface="+mn-ea"/>
                          <a:cs typeface="+mn-cs"/>
                        </a:rPr>
                        <a:t>12% </a:t>
                      </a:r>
                      <a:endParaRPr lang="en-ZA" sz="1400" b="0" i="0" u="none" strike="noStrike" kern="1200" cap="none"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GB" sz="1400" b="0" i="0" u="none" strike="noStrike" kern="1200" cap="none" baseline="0" dirty="0">
                          <a:solidFill>
                            <a:schemeClr val="tx1"/>
                          </a:solidFill>
                          <a:latin typeface="+mj-lt"/>
                          <a:ea typeface="+mn-ea"/>
                          <a:cs typeface="+mn-cs"/>
                        </a:rPr>
                        <a:t>16%</a:t>
                      </a:r>
                      <a:endParaRPr lang="en-ZA" sz="1400" b="0" i="0" u="none" strike="noStrike" kern="1200" cap="none"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vMerge="1">
                  <a:txBody>
                    <a:body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Box 5">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Tree>
    <p:extLst>
      <p:ext uri="{BB962C8B-B14F-4D97-AF65-F5344CB8AC3E}">
        <p14:creationId xmlns:p14="http://schemas.microsoft.com/office/powerpoint/2010/main" val="407384296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19192" y="108204"/>
            <a:ext cx="10774190" cy="536575"/>
          </a:xfrm>
        </p:spPr>
        <p:txBody>
          <a:bodyPr>
            <a:noAutofit/>
          </a:bodyPr>
          <a:lstStyle/>
          <a:p>
            <a:r>
              <a:rPr lang="en-ZA" sz="4000" b="1" dirty="0" smtClean="0">
                <a:solidFill>
                  <a:srgbClr val="000000"/>
                </a:solidFill>
                <a:latin typeface="Georgia"/>
              </a:rPr>
              <a:t>Results chain</a:t>
            </a:r>
            <a:endParaRPr lang="en-GB" sz="4000" b="1" dirty="0">
              <a:solidFill>
                <a:srgbClr val="000000"/>
              </a:solidFill>
              <a:latin typeface="Georgia"/>
            </a:endParaRPr>
          </a:p>
        </p:txBody>
      </p:sp>
      <p:graphicFrame>
        <p:nvGraphicFramePr>
          <p:cNvPr id="12" name="Table 11"/>
          <p:cNvGraphicFramePr>
            <a:graphicFrameLocks noGrp="1"/>
          </p:cNvGraphicFramePr>
          <p:nvPr>
            <p:extLst>
              <p:ext uri="{D42A27DB-BD31-4B8C-83A1-F6EECF244321}">
                <p14:modId xmlns:p14="http://schemas.microsoft.com/office/powerpoint/2010/main" val="1694445144"/>
              </p:ext>
            </p:extLst>
          </p:nvPr>
        </p:nvGraphicFramePr>
        <p:xfrm>
          <a:off x="325413" y="1285403"/>
          <a:ext cx="11574290" cy="4148718"/>
        </p:xfrm>
        <a:graphic>
          <a:graphicData uri="http://schemas.openxmlformats.org/drawingml/2006/table">
            <a:tbl>
              <a:tblPr firstRow="1" firstCol="1" bandRow="1"/>
              <a:tblGrid>
                <a:gridCol w="2115500">
                  <a:extLst>
                    <a:ext uri="{9D8B030D-6E8A-4147-A177-3AD203B41FA5}">
                      <a16:colId xmlns:a16="http://schemas.microsoft.com/office/drawing/2014/main" xmlns="" val="2672124337"/>
                    </a:ext>
                  </a:extLst>
                </a:gridCol>
                <a:gridCol w="3150152">
                  <a:extLst>
                    <a:ext uri="{9D8B030D-6E8A-4147-A177-3AD203B41FA5}">
                      <a16:colId xmlns:a16="http://schemas.microsoft.com/office/drawing/2014/main" xmlns="" val="102369112"/>
                    </a:ext>
                  </a:extLst>
                </a:gridCol>
                <a:gridCol w="1473200">
                  <a:extLst>
                    <a:ext uri="{9D8B030D-6E8A-4147-A177-3AD203B41FA5}">
                      <a16:colId xmlns:a16="http://schemas.microsoft.com/office/drawing/2014/main" xmlns="" val="4122419918"/>
                    </a:ext>
                  </a:extLst>
                </a:gridCol>
                <a:gridCol w="1473200">
                  <a:extLst>
                    <a:ext uri="{9D8B030D-6E8A-4147-A177-3AD203B41FA5}">
                      <a16:colId xmlns:a16="http://schemas.microsoft.com/office/drawing/2014/main" xmlns="" val="1025326353"/>
                    </a:ext>
                  </a:extLst>
                </a:gridCol>
                <a:gridCol w="3362238">
                  <a:extLst>
                    <a:ext uri="{9D8B030D-6E8A-4147-A177-3AD203B41FA5}">
                      <a16:colId xmlns:a16="http://schemas.microsoft.com/office/drawing/2014/main" xmlns="" val="1802985295"/>
                    </a:ext>
                  </a:extLst>
                </a:gridCol>
              </a:tblGrid>
              <a:tr h="301489">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Level of Result</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a:solidFill>
                            <a:schemeClr val="bg1"/>
                          </a:solidFill>
                          <a:latin typeface="+mj-lt"/>
                          <a:ea typeface="+mn-ea"/>
                          <a:cs typeface="+mn-cs"/>
                        </a:rPr>
                        <a:t>Indicator</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Baseline 2020/21</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Target 2021/22</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r>
                        <a:rPr lang="en-GB" sz="1400" b="1" i="0" u="none" strike="noStrike" baseline="0" dirty="0" smtClean="0">
                          <a:solidFill>
                            <a:schemeClr val="bg1"/>
                          </a:solidFill>
                          <a:latin typeface="+mj-lt"/>
                          <a:ea typeface="+mn-ea"/>
                          <a:cs typeface="+mn-cs"/>
                        </a:rPr>
                        <a:t>Assumption/Enablers </a:t>
                      </a:r>
                      <a:endParaRPr lang="en-ZA" sz="1400" b="1" i="0" u="none" strike="noStrike" baseline="0" dirty="0">
                        <a:solidFill>
                          <a:schemeClr val="bg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rgbClr val="548235"/>
                    </a:solidFill>
                  </a:tcPr>
                </a:tc>
                <a:extLst>
                  <a:ext uri="{0D108BD9-81ED-4DB2-BD59-A6C34878D82A}">
                    <a16:rowId xmlns:a16="http://schemas.microsoft.com/office/drawing/2014/main" xmlns="" val="2543777863"/>
                  </a:ext>
                </a:extLst>
              </a:tr>
              <a:tr h="525687">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just" defTabSz="914400" rtl="0" eaLnBrk="1" fontAlgn="auto" latinLnBrk="0" hangingPunct="1">
                        <a:lnSpc>
                          <a:spcPct val="115000"/>
                        </a:lnSpc>
                        <a:spcBef>
                          <a:spcPts val="0"/>
                        </a:spcBef>
                        <a:spcAft>
                          <a:spcPts val="0"/>
                        </a:spcAft>
                        <a:buClrTx/>
                        <a:buSzTx/>
                        <a:buFontTx/>
                        <a:buNone/>
                        <a:tabLst/>
                        <a:defRPr/>
                      </a:pPr>
                      <a:r>
                        <a:rPr lang="en-GB" sz="1400" b="1" i="0" u="none" strike="noStrike" kern="1200" baseline="0" dirty="0" smtClean="0">
                          <a:solidFill>
                            <a:schemeClr val="tx1"/>
                          </a:solidFill>
                          <a:latin typeface="Calibri"/>
                          <a:ea typeface=""/>
                          <a:cs typeface=""/>
                        </a:rPr>
                        <a:t>Output (new)</a:t>
                      </a:r>
                    </a:p>
                    <a:p>
                      <a:pPr algn="just">
                        <a:lnSpc>
                          <a:spcPct val="115000"/>
                        </a:lnSpc>
                        <a:spcAft>
                          <a:spcPts val="0"/>
                        </a:spcAft>
                      </a:pPr>
                      <a:endParaRPr lang="en-GB" sz="1400" b="1" i="0" u="none" strike="noStrike" kern="1200" baseline="0" dirty="0" smtClean="0">
                        <a:solidFill>
                          <a:schemeClr val="tx1"/>
                        </a:solidFill>
                        <a:latin typeface="Calibri"/>
                        <a:ea typeface=""/>
                        <a:cs typeface=""/>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61030024"/>
                  </a:ext>
                </a:extLst>
              </a:tr>
              <a:tr h="472966">
                <a:tc>
                  <a:txBody>
                    <a:bodyPr/>
                    <a:lstStyle/>
                    <a:p>
                      <a:pPr algn="l">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35046">
                <a:tc>
                  <a:txBody>
                    <a:bodyPr/>
                    <a:lstStyle/>
                    <a:p>
                      <a:pPr algn="l">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564462">
                <a:tc>
                  <a:txBody>
                    <a:bodyPr/>
                    <a:lstStyle/>
                    <a:p>
                      <a:pPr algn="l">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R="73025">
                        <a:lnSpc>
                          <a:spcPct val="115000"/>
                        </a:lnSpc>
                        <a:spcAft>
                          <a:spcPts val="0"/>
                        </a:spcAft>
                      </a:pP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425669">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endParaRPr lang="en-GB" sz="1400" b="0" i="0" u="none" strike="noStrike" cap="none" dirty="0">
                        <a:solidFill>
                          <a:schemeClr val="dk1"/>
                        </a:solidFill>
                        <a:latin typeface="+mj-lt"/>
                        <a:ea typeface="+mn-ea"/>
                        <a:cs typeface="+mn-cs"/>
                        <a:sym typeface="Arial"/>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l" defTabSz="914400" eaLnBrk="1" fontAlgn="auto" latinLnBrk="0" hangingPunct="1">
                        <a:lnSpc>
                          <a:spcPct val="115000"/>
                        </a:lnSpc>
                        <a:spcBef>
                          <a:spcPts val="0"/>
                        </a:spcBef>
                        <a:spcAft>
                          <a:spcPts val="0"/>
                        </a:spcAft>
                        <a:buClrTx/>
                        <a:buSzTx/>
                        <a:buFontTx/>
                        <a:buNone/>
                        <a:tabLst/>
                        <a:defRP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0" marR="0" indent="0" algn="just" defTabSz="914400" eaLnBrk="1" fontAlgn="auto" latinLnBrk="0" hangingPunct="1">
                        <a:lnSpc>
                          <a:spcPct val="115000"/>
                        </a:lnSpc>
                        <a:spcBef>
                          <a:spcPts val="0"/>
                        </a:spcBef>
                        <a:spcAft>
                          <a:spcPts val="0"/>
                        </a:spcAft>
                        <a:buClrTx/>
                        <a:buSzTx/>
                        <a:buFontTx/>
                        <a:buNone/>
                        <a:tabLst/>
                        <a:defRPr/>
                      </a:pPr>
                      <a:endParaRPr lang="en-ZA" sz="1400" b="0" i="0" u="none" strike="noStrike" baseline="0" dirty="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marL="177800" indent="-177800" algn="just">
                        <a:lnSpc>
                          <a:spcPct val="115000"/>
                        </a:lnSpc>
                        <a:spcAft>
                          <a:spcPts val="0"/>
                        </a:spcAft>
                        <a:buFont typeface="Arial" panose="020B0604020202020204" pitchFamily="34" charset="0"/>
                        <a:buChar char="•"/>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031309451"/>
                  </a:ext>
                </a:extLst>
              </a:tr>
              <a:tr h="723146">
                <a:tc rowSpan="2">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l">
                        <a:lnSpc>
                          <a:spcPct val="115000"/>
                        </a:lnSpc>
                        <a:spcAft>
                          <a:spcPts val="0"/>
                        </a:spcAft>
                      </a:pPr>
                      <a:r>
                        <a:rPr lang="en-US" sz="1400" b="1" i="0" u="none" strike="noStrike" baseline="0" dirty="0" smtClean="0">
                          <a:solidFill>
                            <a:schemeClr val="tx1"/>
                          </a:solidFill>
                          <a:latin typeface="+mj-lt"/>
                          <a:ea typeface="+mn-ea"/>
                          <a:cs typeface="+mn-cs"/>
                        </a:rPr>
                        <a:t>Strategic Operational Outputs</a:t>
                      </a:r>
                    </a:p>
                    <a:p>
                      <a:pPr algn="l">
                        <a:lnSpc>
                          <a:spcPct val="115000"/>
                        </a:lnSpc>
                        <a:spcAft>
                          <a:spcPts val="0"/>
                        </a:spcAft>
                      </a:pPr>
                      <a:r>
                        <a:rPr lang="en-US" sz="1400" b="0" i="0" u="none" strike="noStrike" baseline="0" dirty="0" smtClean="0">
                          <a:solidFill>
                            <a:schemeClr val="tx1"/>
                          </a:solidFill>
                          <a:latin typeface="+mj-lt"/>
                          <a:ea typeface="+mn-ea"/>
                          <a:cs typeface="+mn-cs"/>
                        </a:rPr>
                        <a:t>(how do we deliver the outcomes)</a:t>
                      </a:r>
                    </a:p>
                    <a:p>
                      <a:pPr algn="l">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US" sz="1400" b="0" i="0" u="none" strike="noStrike" kern="1200" baseline="0" dirty="0" smtClean="0">
                          <a:solidFill>
                            <a:schemeClr val="tx1"/>
                          </a:solidFill>
                          <a:latin typeface="+mj-lt"/>
                          <a:ea typeface="+mn-ea"/>
                          <a:cs typeface="+mn-cs"/>
                        </a:rPr>
                        <a:t>Number of sites where servers are implemented</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64</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ea typeface=""/>
                          <a:cs typeface=""/>
                        </a:defRPr>
                      </a:lvl1pPr>
                      <a:lvl2pPr marL="457200" algn="l" defTabSz="914400" rtl="0" eaLnBrk="1" latinLnBrk="0" hangingPunct="1">
                        <a:defRPr sz="1800" kern="1200">
                          <a:solidFill>
                            <a:schemeClr val="tx1"/>
                          </a:solidFill>
                          <a:latin typeface="Calibri"/>
                          <a:ea typeface=""/>
                          <a:cs typeface=""/>
                        </a:defRPr>
                      </a:lvl2pPr>
                      <a:lvl3pPr marL="914400" algn="l" defTabSz="914400" rtl="0" eaLnBrk="1" latinLnBrk="0" hangingPunct="1">
                        <a:defRPr sz="1800" kern="1200">
                          <a:solidFill>
                            <a:schemeClr val="tx1"/>
                          </a:solidFill>
                          <a:latin typeface="Calibri"/>
                          <a:ea typeface=""/>
                          <a:cs typeface=""/>
                        </a:defRPr>
                      </a:lvl3pPr>
                      <a:lvl4pPr marL="1371600" algn="l" defTabSz="914400" rtl="0" eaLnBrk="1" latinLnBrk="0" hangingPunct="1">
                        <a:defRPr sz="1800" kern="1200">
                          <a:solidFill>
                            <a:schemeClr val="tx1"/>
                          </a:solidFill>
                          <a:latin typeface="Calibri"/>
                          <a:ea typeface=""/>
                          <a:cs typeface=""/>
                        </a:defRPr>
                      </a:lvl4pPr>
                      <a:lvl5pPr marL="1828800" algn="l" defTabSz="914400" rtl="0" eaLnBrk="1" latinLnBrk="0" hangingPunct="1">
                        <a:defRPr sz="1800" kern="1200">
                          <a:solidFill>
                            <a:schemeClr val="tx1"/>
                          </a:solidFill>
                          <a:latin typeface="Calibri"/>
                          <a:ea typeface=""/>
                          <a:cs typeface=""/>
                        </a:defRPr>
                      </a:lvl5pPr>
                      <a:lvl6pPr marL="2286000" algn="l" defTabSz="914400" rtl="0" eaLnBrk="1" latinLnBrk="0" hangingPunct="1">
                        <a:defRPr sz="1800" kern="1200">
                          <a:solidFill>
                            <a:schemeClr val="tx1"/>
                          </a:solidFill>
                          <a:latin typeface="Calibri"/>
                          <a:ea typeface=""/>
                          <a:cs typeface=""/>
                        </a:defRPr>
                      </a:lvl6pPr>
                      <a:lvl7pPr marL="2743200" algn="l" defTabSz="914400" rtl="0" eaLnBrk="1" latinLnBrk="0" hangingPunct="1">
                        <a:defRPr sz="1800" kern="1200">
                          <a:solidFill>
                            <a:schemeClr val="tx1"/>
                          </a:solidFill>
                          <a:latin typeface="Calibri"/>
                          <a:ea typeface=""/>
                          <a:cs typeface=""/>
                        </a:defRPr>
                      </a:lvl7pPr>
                      <a:lvl8pPr marL="3200400" algn="l" defTabSz="914400" rtl="0" eaLnBrk="1" latinLnBrk="0" hangingPunct="1">
                        <a:defRPr sz="1800" kern="1200">
                          <a:solidFill>
                            <a:schemeClr val="tx1"/>
                          </a:solidFill>
                          <a:latin typeface="Calibri"/>
                          <a:ea typeface=""/>
                          <a:cs typeface=""/>
                        </a:defRPr>
                      </a:lvl8pPr>
                      <a:lvl9pPr marL="3657600" algn="l" defTabSz="914400" rtl="0" eaLnBrk="1" latinLnBrk="0" hangingPunct="1">
                        <a:defRPr sz="1800" kern="1200">
                          <a:solidFill>
                            <a:schemeClr val="tx1"/>
                          </a:solidFill>
                          <a:latin typeface="Calibri"/>
                          <a:ea typeface=""/>
                          <a:cs typeface=""/>
                        </a:defRPr>
                      </a:lvl9pPr>
                    </a:lstStyle>
                    <a:p>
                      <a:pPr algn="just">
                        <a:lnSpc>
                          <a:spcPct val="115000"/>
                        </a:lnSpc>
                        <a:spcAft>
                          <a:spcPts val="0"/>
                        </a:spcAft>
                      </a:pPr>
                      <a:endParaRPr lang="en-US" sz="1400" b="0" i="0" u="none" strike="noStrike" baseline="0" dirty="0" smtClean="0">
                        <a:solidFill>
                          <a:schemeClr val="tx1"/>
                        </a:solidFill>
                        <a:latin typeface="+mj-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31248254"/>
                  </a:ext>
                </a:extLst>
              </a:tr>
              <a:tr h="485176">
                <a:tc vMerge="1">
                  <a:txBody>
                    <a:bodyPr/>
                    <a:lstStyle/>
                    <a:p>
                      <a:endParaRPr lang="en-ZA"/>
                    </a:p>
                  </a:txBody>
                  <a:tcPr/>
                </a:tc>
                <a:tc>
                  <a:txBody>
                    <a:bodyPr/>
                    <a:lstStyle/>
                    <a:p>
                      <a:pPr>
                        <a:lnSpc>
                          <a:spcPct val="115000"/>
                        </a:lnSpc>
                        <a:spcAft>
                          <a:spcPts val="0"/>
                        </a:spcAft>
                      </a:pPr>
                      <a:r>
                        <a:rPr lang="en-US" sz="1400" b="0" i="0" u="none" strike="noStrike" kern="1200" baseline="0" dirty="0" smtClean="0">
                          <a:solidFill>
                            <a:schemeClr val="tx1"/>
                          </a:solidFill>
                          <a:latin typeface="+mj-lt"/>
                          <a:ea typeface="+mn-ea"/>
                          <a:cs typeface="+mn-cs"/>
                        </a:rPr>
                        <a:t>Number of sites where Firewall Software will be implemented</a:t>
                      </a:r>
                      <a:endParaRPr lang="en-ZA" sz="1400" b="0" i="0" u="none" strike="noStrike" kern="1200" baseline="0" dirty="0">
                        <a:solidFill>
                          <a:schemeClr val="tx1"/>
                        </a:solidFill>
                        <a:latin typeface="+mj-lt"/>
                        <a:ea typeface="+mn-ea"/>
                        <a:cs typeface="+mn-cs"/>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nSpc>
                          <a:spcPct val="115000"/>
                        </a:lnSpc>
                        <a:spcAft>
                          <a:spcPts val="0"/>
                        </a:spcAft>
                      </a:pPr>
                      <a:r>
                        <a:rPr lang="en-ZA" sz="1400" kern="1200" dirty="0" smtClean="0">
                          <a:solidFill>
                            <a:srgbClr val="000000"/>
                          </a:solidFill>
                          <a:effectLst/>
                          <a:latin typeface="+mj-lt"/>
                          <a:ea typeface="Calibri" panose="020F0502020204030204" pitchFamily="34" charset="0"/>
                          <a:cs typeface="Times New Roman" panose="02020603050405020304" pitchFamily="18" charset="0"/>
                        </a:rPr>
                        <a:t>2</a:t>
                      </a:r>
                      <a:endParaRPr lang="en-ZA" sz="1400" kern="1200" dirty="0">
                        <a:solidFill>
                          <a:srgbClr val="000000"/>
                        </a:solidFill>
                        <a:effectLst/>
                        <a:latin typeface="+mj-lt"/>
                        <a:ea typeface="Calibri" panose="020F0502020204030204" pitchFamily="34" charset="0"/>
                        <a:cs typeface="Times New Roman" panose="02020603050405020304" pitchFamily="18" charset="0"/>
                      </a:endParaRPr>
                    </a:p>
                  </a:txBody>
                  <a:tcPr marL="68580" marR="68580" marT="9525"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just">
                        <a:lnSpc>
                          <a:spcPct val="115000"/>
                        </a:lnSpc>
                        <a:spcAft>
                          <a:spcPts val="0"/>
                        </a:spcAft>
                      </a:pPr>
                      <a:endParaRPr lang="en-ZA" sz="1300" b="0" i="0" u="none" strike="noStrike" baseline="0" dirty="0">
                        <a:solidFill>
                          <a:schemeClr val="tx1"/>
                        </a:solidFill>
                        <a:latin typeface="+mn-lt"/>
                        <a:ea typeface="+mn-ea"/>
                        <a:cs typeface="+mn-cs"/>
                      </a:endParaRPr>
                    </a:p>
                  </a:txBody>
                  <a:tcPr marL="12171" marR="12171"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TextBox 5">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Tree>
    <p:extLst>
      <p:ext uri="{BB962C8B-B14F-4D97-AF65-F5344CB8AC3E}">
        <p14:creationId xmlns:p14="http://schemas.microsoft.com/office/powerpoint/2010/main" val="41832904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Box 76">
            <a:extLst>
              <a:ext uri="{FF2B5EF4-FFF2-40B4-BE49-F238E27FC236}">
                <a16:creationId xmlns="" xmlns:a16="http://schemas.microsoft.com/office/drawing/2014/main" id="{3D1D2E24-36FA-6149-B377-163EFDF93ABC}"/>
              </a:ext>
            </a:extLst>
          </p:cNvPr>
          <p:cNvSpPr txBox="1"/>
          <p:nvPr/>
        </p:nvSpPr>
        <p:spPr>
          <a:xfrm>
            <a:off x="781507" y="780223"/>
            <a:ext cx="379569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
        <p:nvSpPr>
          <p:cNvPr id="265" name="Slide Number Placeholder 1">
            <a:extLst>
              <a:ext uri="{FF2B5EF4-FFF2-40B4-BE49-F238E27FC236}">
                <a16:creationId xmlns:a16="http://schemas.microsoft.com/office/drawing/2014/main" xmlns="" id="{A8E74C14-B365-4B36-897D-8CBA79973FDC}"/>
              </a:ext>
            </a:extLst>
          </p:cNvPr>
          <p:cNvSpPr>
            <a:spLocks noGrp="1"/>
          </p:cNvSpPr>
          <p:nvPr>
            <p:ph type="sldNum" sz="quarter" idx="12"/>
          </p:nvPr>
        </p:nvSpPr>
        <p:spPr/>
        <p:txBody>
          <a:bodyPr/>
          <a:lstStyle/>
          <a:p>
            <a:fld id="{5E48029D-87D6-48C3-BA4B-1065A63511DF}" type="slidenum">
              <a:rPr lang="en-GB" smtClean="0"/>
              <a:pPr/>
              <a:t>13</a:t>
            </a:fld>
            <a:endParaRPr lang="en-GB"/>
          </a:p>
        </p:txBody>
      </p:sp>
      <p:cxnSp>
        <p:nvCxnSpPr>
          <p:cNvPr id="266" name="Straight Arrow Connector 265">
            <a:extLst>
              <a:ext uri="{FF2B5EF4-FFF2-40B4-BE49-F238E27FC236}">
                <a16:creationId xmlns:a16="http://schemas.microsoft.com/office/drawing/2014/main" xmlns="" id="{00D009DB-35CC-49C2-9338-67E33A8E402B}"/>
              </a:ext>
            </a:extLst>
          </p:cNvPr>
          <p:cNvCxnSpPr>
            <a:cxnSpLocks/>
          </p:cNvCxnSpPr>
          <p:nvPr/>
        </p:nvCxnSpPr>
        <p:spPr>
          <a:xfrm>
            <a:off x="432631" y="6213987"/>
            <a:ext cx="10978321" cy="32439"/>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grpSp>
        <p:nvGrpSpPr>
          <p:cNvPr id="267" name="Group 266">
            <a:extLst>
              <a:ext uri="{FF2B5EF4-FFF2-40B4-BE49-F238E27FC236}">
                <a16:creationId xmlns:a16="http://schemas.microsoft.com/office/drawing/2014/main" xmlns="" id="{B89E0ABE-45B1-4FD6-BDA2-178677933EE6}"/>
              </a:ext>
            </a:extLst>
          </p:cNvPr>
          <p:cNvGrpSpPr/>
          <p:nvPr/>
        </p:nvGrpSpPr>
        <p:grpSpPr>
          <a:xfrm>
            <a:off x="118808" y="1165609"/>
            <a:ext cx="313826" cy="5048379"/>
            <a:chOff x="118808" y="1165609"/>
            <a:chExt cx="313826" cy="5048379"/>
          </a:xfrm>
        </p:grpSpPr>
        <p:cxnSp>
          <p:nvCxnSpPr>
            <p:cNvPr id="268" name="Straight Arrow Connector 267">
              <a:extLst>
                <a:ext uri="{FF2B5EF4-FFF2-40B4-BE49-F238E27FC236}">
                  <a16:creationId xmlns:a16="http://schemas.microsoft.com/office/drawing/2014/main" xmlns="" id="{1C53510F-F2EC-4E73-94A2-0911C012BF66}"/>
                </a:ext>
              </a:extLst>
            </p:cNvPr>
            <p:cNvCxnSpPr>
              <a:cxnSpLocks/>
            </p:cNvCxnSpPr>
            <p:nvPr/>
          </p:nvCxnSpPr>
          <p:spPr>
            <a:xfrm flipV="1">
              <a:off x="432632" y="1233490"/>
              <a:ext cx="0" cy="4980496"/>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269" name="Rectangle 268">
              <a:extLst>
                <a:ext uri="{FF2B5EF4-FFF2-40B4-BE49-F238E27FC236}">
                  <a16:creationId xmlns:a16="http://schemas.microsoft.com/office/drawing/2014/main" xmlns="" id="{FF097216-9F6C-4F25-A3CB-D3D014309F89}"/>
                </a:ext>
              </a:extLst>
            </p:cNvPr>
            <p:cNvSpPr/>
            <p:nvPr/>
          </p:nvSpPr>
          <p:spPr>
            <a:xfrm rot="16200000">
              <a:off x="-289633" y="1574052"/>
              <a:ext cx="1130710" cy="313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a:solidFill>
                    <a:sysClr val="windowText" lastClr="000000"/>
                  </a:solidFill>
                </a:rPr>
                <a:t>OUTSOURCE</a:t>
              </a:r>
            </a:p>
          </p:txBody>
        </p:sp>
        <p:sp>
          <p:nvSpPr>
            <p:cNvPr id="270" name="Rectangle 269">
              <a:extLst>
                <a:ext uri="{FF2B5EF4-FFF2-40B4-BE49-F238E27FC236}">
                  <a16:creationId xmlns:a16="http://schemas.microsoft.com/office/drawing/2014/main" xmlns="" id="{BFEDC244-FA40-4747-859A-CE7D11C1FC87}"/>
                </a:ext>
              </a:extLst>
            </p:cNvPr>
            <p:cNvSpPr/>
            <p:nvPr/>
          </p:nvSpPr>
          <p:spPr>
            <a:xfrm rot="16200000">
              <a:off x="-289635" y="3479282"/>
              <a:ext cx="1130710"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u="sng">
                  <a:solidFill>
                    <a:sysClr val="windowText" lastClr="000000"/>
                  </a:solidFill>
                </a:rPr>
                <a:t>CONTROL</a:t>
              </a:r>
            </a:p>
          </p:txBody>
        </p:sp>
        <p:sp>
          <p:nvSpPr>
            <p:cNvPr id="271" name="Rectangle 270">
              <a:extLst>
                <a:ext uri="{FF2B5EF4-FFF2-40B4-BE49-F238E27FC236}">
                  <a16:creationId xmlns:a16="http://schemas.microsoft.com/office/drawing/2014/main" xmlns="" id="{FEF203BF-AD2E-4BFF-B7A8-4682647F6BBE}"/>
                </a:ext>
              </a:extLst>
            </p:cNvPr>
            <p:cNvSpPr/>
            <p:nvPr/>
          </p:nvSpPr>
          <p:spPr>
            <a:xfrm rot="16200000">
              <a:off x="-235082" y="5546274"/>
              <a:ext cx="1021604" cy="3138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INSOURCE</a:t>
              </a:r>
            </a:p>
          </p:txBody>
        </p:sp>
      </p:grpSp>
      <p:grpSp>
        <p:nvGrpSpPr>
          <p:cNvPr id="272" name="Group 271">
            <a:extLst>
              <a:ext uri="{FF2B5EF4-FFF2-40B4-BE49-F238E27FC236}">
                <a16:creationId xmlns:a16="http://schemas.microsoft.com/office/drawing/2014/main" xmlns="" id="{D04092A1-50F5-4BDA-AB07-0F687808BD99}"/>
              </a:ext>
            </a:extLst>
          </p:cNvPr>
          <p:cNvGrpSpPr/>
          <p:nvPr/>
        </p:nvGrpSpPr>
        <p:grpSpPr>
          <a:xfrm>
            <a:off x="366083" y="6230206"/>
            <a:ext cx="11044863" cy="337866"/>
            <a:chOff x="366083" y="6230206"/>
            <a:chExt cx="11044863" cy="337866"/>
          </a:xfrm>
        </p:grpSpPr>
        <p:sp>
          <p:nvSpPr>
            <p:cNvPr id="273" name="Rectangle 272">
              <a:extLst>
                <a:ext uri="{FF2B5EF4-FFF2-40B4-BE49-F238E27FC236}">
                  <a16:creationId xmlns:a16="http://schemas.microsoft.com/office/drawing/2014/main" xmlns="" id="{2F52830D-443C-40EA-A371-2CC24C4D8EA6}"/>
                </a:ext>
              </a:extLst>
            </p:cNvPr>
            <p:cNvSpPr/>
            <p:nvPr/>
          </p:nvSpPr>
          <p:spPr>
            <a:xfrm>
              <a:off x="10058399" y="6238030"/>
              <a:ext cx="1352547" cy="304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ZA" sz="1200">
                  <a:solidFill>
                    <a:sysClr val="windowText" lastClr="000000"/>
                  </a:solidFill>
                </a:rPr>
                <a:t>DECENTRALISE</a:t>
              </a:r>
            </a:p>
          </p:txBody>
        </p:sp>
        <p:sp>
          <p:nvSpPr>
            <p:cNvPr id="274" name="Rectangle 273">
              <a:extLst>
                <a:ext uri="{FF2B5EF4-FFF2-40B4-BE49-F238E27FC236}">
                  <a16:creationId xmlns:a16="http://schemas.microsoft.com/office/drawing/2014/main" xmlns="" id="{84A284E5-A70F-439C-855D-8FD4B7A9BF2C}"/>
                </a:ext>
              </a:extLst>
            </p:cNvPr>
            <p:cNvSpPr/>
            <p:nvPr/>
          </p:nvSpPr>
          <p:spPr>
            <a:xfrm>
              <a:off x="5160728" y="6238027"/>
              <a:ext cx="1595240" cy="3300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200" b="1" u="sng">
                  <a:solidFill>
                    <a:sysClr val="windowText" lastClr="000000"/>
                  </a:solidFill>
                </a:rPr>
                <a:t>CO-ORDINATION</a:t>
              </a:r>
            </a:p>
          </p:txBody>
        </p:sp>
        <p:sp>
          <p:nvSpPr>
            <p:cNvPr id="275" name="Rectangle 274">
              <a:extLst>
                <a:ext uri="{FF2B5EF4-FFF2-40B4-BE49-F238E27FC236}">
                  <a16:creationId xmlns:a16="http://schemas.microsoft.com/office/drawing/2014/main" xmlns="" id="{65768F7D-7F5D-4F7B-BD4B-F10696CB30DF}"/>
                </a:ext>
              </a:extLst>
            </p:cNvPr>
            <p:cNvSpPr/>
            <p:nvPr/>
          </p:nvSpPr>
          <p:spPr>
            <a:xfrm>
              <a:off x="366083" y="6230206"/>
              <a:ext cx="1139154" cy="2516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CENTRALISE</a:t>
              </a:r>
            </a:p>
          </p:txBody>
        </p:sp>
      </p:grpSp>
      <p:grpSp>
        <p:nvGrpSpPr>
          <p:cNvPr id="276" name="Group 275">
            <a:extLst>
              <a:ext uri="{FF2B5EF4-FFF2-40B4-BE49-F238E27FC236}">
                <a16:creationId xmlns:a16="http://schemas.microsoft.com/office/drawing/2014/main" xmlns="" id="{D86419E5-AEBF-4E1B-9C28-331E4A99AEA4}"/>
              </a:ext>
            </a:extLst>
          </p:cNvPr>
          <p:cNvGrpSpPr/>
          <p:nvPr/>
        </p:nvGrpSpPr>
        <p:grpSpPr>
          <a:xfrm>
            <a:off x="218700" y="6584820"/>
            <a:ext cx="748998" cy="262563"/>
            <a:chOff x="422379" y="5047383"/>
            <a:chExt cx="980427" cy="303071"/>
          </a:xfrm>
        </p:grpSpPr>
        <p:sp>
          <p:nvSpPr>
            <p:cNvPr id="277" name="Oval 276">
              <a:extLst>
                <a:ext uri="{FF2B5EF4-FFF2-40B4-BE49-F238E27FC236}">
                  <a16:creationId xmlns:a16="http://schemas.microsoft.com/office/drawing/2014/main" xmlns="" id="{A8C32EC6-9D6F-415E-8449-C7A49876116D}"/>
                </a:ext>
              </a:extLst>
            </p:cNvPr>
            <p:cNvSpPr/>
            <p:nvPr/>
          </p:nvSpPr>
          <p:spPr>
            <a:xfrm>
              <a:off x="422379" y="5076698"/>
              <a:ext cx="235617" cy="207770"/>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278" name="Rectangle 277">
              <a:extLst>
                <a:ext uri="{FF2B5EF4-FFF2-40B4-BE49-F238E27FC236}">
                  <a16:creationId xmlns:a16="http://schemas.microsoft.com/office/drawing/2014/main" xmlns="" id="{FDC7FFFF-26DD-47CB-BBB7-60675D7F02E2}"/>
                </a:ext>
              </a:extLst>
            </p:cNvPr>
            <p:cNvSpPr/>
            <p:nvPr/>
          </p:nvSpPr>
          <p:spPr>
            <a:xfrm>
              <a:off x="595822" y="5047383"/>
              <a:ext cx="806984" cy="3030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Current</a:t>
              </a:r>
            </a:p>
          </p:txBody>
        </p:sp>
      </p:grpSp>
      <p:grpSp>
        <p:nvGrpSpPr>
          <p:cNvPr id="279" name="Group 278">
            <a:extLst>
              <a:ext uri="{FF2B5EF4-FFF2-40B4-BE49-F238E27FC236}">
                <a16:creationId xmlns:a16="http://schemas.microsoft.com/office/drawing/2014/main" xmlns="" id="{0A44A5E0-9FEF-47E5-9E25-E828C66EFF91}"/>
              </a:ext>
            </a:extLst>
          </p:cNvPr>
          <p:cNvGrpSpPr/>
          <p:nvPr/>
        </p:nvGrpSpPr>
        <p:grpSpPr>
          <a:xfrm>
            <a:off x="909345" y="6603121"/>
            <a:ext cx="1000441" cy="225960"/>
            <a:chOff x="422379" y="5399783"/>
            <a:chExt cx="1309562" cy="260820"/>
          </a:xfrm>
        </p:grpSpPr>
        <p:sp>
          <p:nvSpPr>
            <p:cNvPr id="280" name="Oval 279">
              <a:extLst>
                <a:ext uri="{FF2B5EF4-FFF2-40B4-BE49-F238E27FC236}">
                  <a16:creationId xmlns:a16="http://schemas.microsoft.com/office/drawing/2014/main" xmlns="" id="{0831734A-F40C-4A80-92F8-420B0B1CB284}"/>
                </a:ext>
              </a:extLst>
            </p:cNvPr>
            <p:cNvSpPr/>
            <p:nvPr/>
          </p:nvSpPr>
          <p:spPr>
            <a:xfrm>
              <a:off x="422379" y="5416160"/>
              <a:ext cx="235617" cy="20777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281" name="Rectangle 280">
              <a:extLst>
                <a:ext uri="{FF2B5EF4-FFF2-40B4-BE49-F238E27FC236}">
                  <a16:creationId xmlns:a16="http://schemas.microsoft.com/office/drawing/2014/main" xmlns="" id="{593C6AD2-E098-4FDA-B420-0F306F0D0FB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ST</a:t>
              </a:r>
            </a:p>
          </p:txBody>
        </p:sp>
      </p:grpSp>
      <p:grpSp>
        <p:nvGrpSpPr>
          <p:cNvPr id="282" name="Group 281">
            <a:extLst>
              <a:ext uri="{FF2B5EF4-FFF2-40B4-BE49-F238E27FC236}">
                <a16:creationId xmlns:a16="http://schemas.microsoft.com/office/drawing/2014/main" xmlns="" id="{8BA5AD93-D818-410A-8A60-3A7F35C563E4}"/>
              </a:ext>
            </a:extLst>
          </p:cNvPr>
          <p:cNvGrpSpPr/>
          <p:nvPr/>
        </p:nvGrpSpPr>
        <p:grpSpPr>
          <a:xfrm>
            <a:off x="425367" y="1233490"/>
            <a:ext cx="10982234" cy="5004537"/>
            <a:chOff x="425367" y="1233490"/>
            <a:chExt cx="10982234" cy="5004537"/>
          </a:xfrm>
        </p:grpSpPr>
        <p:cxnSp>
          <p:nvCxnSpPr>
            <p:cNvPr id="283" name="Straight Connector 282">
              <a:extLst>
                <a:ext uri="{FF2B5EF4-FFF2-40B4-BE49-F238E27FC236}">
                  <a16:creationId xmlns:a16="http://schemas.microsoft.com/office/drawing/2014/main" xmlns="" id="{1A6B082D-B6EB-4170-95B6-9CFAF746D130}"/>
                </a:ext>
              </a:extLst>
            </p:cNvPr>
            <p:cNvCxnSpPr>
              <a:cxnSpLocks/>
            </p:cNvCxnSpPr>
            <p:nvPr/>
          </p:nvCxnSpPr>
          <p:spPr>
            <a:xfrm>
              <a:off x="3009713" y="1233490"/>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xmlns="" id="{5AE09A90-7712-4EEB-B1AB-E7EBF053F16B}"/>
                </a:ext>
              </a:extLst>
            </p:cNvPr>
            <p:cNvCxnSpPr>
              <a:cxnSpLocks/>
            </p:cNvCxnSpPr>
            <p:nvPr/>
          </p:nvCxnSpPr>
          <p:spPr>
            <a:xfrm>
              <a:off x="5586792" y="1258704"/>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xmlns="" id="{ECBC2BD7-C293-438C-BE3F-214F842105E5}"/>
                </a:ext>
              </a:extLst>
            </p:cNvPr>
            <p:cNvCxnSpPr>
              <a:cxnSpLocks/>
            </p:cNvCxnSpPr>
            <p:nvPr/>
          </p:nvCxnSpPr>
          <p:spPr>
            <a:xfrm>
              <a:off x="8163871" y="1244813"/>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xmlns="" id="{55F92ECA-B5F4-47DA-A3F6-B807290584CC}"/>
                </a:ext>
              </a:extLst>
            </p:cNvPr>
            <p:cNvCxnSpPr>
              <a:cxnSpLocks/>
            </p:cNvCxnSpPr>
            <p:nvPr/>
          </p:nvCxnSpPr>
          <p:spPr>
            <a:xfrm>
              <a:off x="10740949" y="1266525"/>
              <a:ext cx="0" cy="4971502"/>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xmlns="" id="{76C53D9C-E572-43F5-B31C-7366BC655361}"/>
                </a:ext>
              </a:extLst>
            </p:cNvPr>
            <p:cNvCxnSpPr>
              <a:cxnSpLocks/>
            </p:cNvCxnSpPr>
            <p:nvPr/>
          </p:nvCxnSpPr>
          <p:spPr>
            <a:xfrm rot="5400000">
              <a:off x="5952731" y="-3963728"/>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xmlns="" id="{2D3643D8-BEDD-4FDC-BD56-88BFB161DBE0}"/>
                </a:ext>
              </a:extLst>
            </p:cNvPr>
            <p:cNvCxnSpPr>
              <a:cxnSpLocks/>
            </p:cNvCxnSpPr>
            <p:nvPr/>
          </p:nvCxnSpPr>
          <p:spPr>
            <a:xfrm rot="5400000">
              <a:off x="5897400" y="-2778962"/>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xmlns="" id="{011AE3D9-0776-443A-9F4F-C14A94EB99E1}"/>
                </a:ext>
              </a:extLst>
            </p:cNvPr>
            <p:cNvCxnSpPr>
              <a:cxnSpLocks/>
            </p:cNvCxnSpPr>
            <p:nvPr/>
          </p:nvCxnSpPr>
          <p:spPr>
            <a:xfrm rot="5400000">
              <a:off x="5927884" y="-1594196"/>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xmlns="" id="{1759C436-EDFD-49AD-941E-4900743937E3}"/>
                </a:ext>
              </a:extLst>
            </p:cNvPr>
            <p:cNvCxnSpPr>
              <a:cxnSpLocks/>
            </p:cNvCxnSpPr>
            <p:nvPr/>
          </p:nvCxnSpPr>
          <p:spPr>
            <a:xfrm rot="5400000">
              <a:off x="5880238" y="-409430"/>
              <a:ext cx="0" cy="10909741"/>
            </a:xfrm>
            <a:prstGeom prst="line">
              <a:avLst/>
            </a:prstGeom>
            <a:ln w="12700">
              <a:solidFill>
                <a:schemeClr val="bg1">
                  <a:lumMod val="95000"/>
                </a:schemeClr>
              </a:solidFill>
              <a:prstDash val="lgDash"/>
            </a:ln>
          </p:spPr>
          <p:style>
            <a:lnRef idx="1">
              <a:schemeClr val="accent1"/>
            </a:lnRef>
            <a:fillRef idx="0">
              <a:schemeClr val="accent1"/>
            </a:fillRef>
            <a:effectRef idx="0">
              <a:schemeClr val="accent1"/>
            </a:effectRef>
            <a:fontRef idx="minor">
              <a:schemeClr val="tx1"/>
            </a:fontRef>
          </p:style>
        </p:cxnSp>
      </p:grpSp>
      <p:grpSp>
        <p:nvGrpSpPr>
          <p:cNvPr id="291" name="Group 290">
            <a:extLst>
              <a:ext uri="{FF2B5EF4-FFF2-40B4-BE49-F238E27FC236}">
                <a16:creationId xmlns:a16="http://schemas.microsoft.com/office/drawing/2014/main" xmlns="" id="{1BEDEA3B-27EF-4A4F-A63F-A696F8D79145}"/>
              </a:ext>
            </a:extLst>
          </p:cNvPr>
          <p:cNvGrpSpPr/>
          <p:nvPr/>
        </p:nvGrpSpPr>
        <p:grpSpPr>
          <a:xfrm>
            <a:off x="403123" y="1025662"/>
            <a:ext cx="10648488" cy="329376"/>
            <a:chOff x="13166521" y="4833050"/>
            <a:chExt cx="10648488" cy="329376"/>
          </a:xfrm>
        </p:grpSpPr>
        <p:sp>
          <p:nvSpPr>
            <p:cNvPr id="292" name="Rectangle 291">
              <a:extLst>
                <a:ext uri="{FF2B5EF4-FFF2-40B4-BE49-F238E27FC236}">
                  <a16:creationId xmlns:a16="http://schemas.microsoft.com/office/drawing/2014/main" xmlns="" id="{BA25994B-1DBF-448E-9A03-4F55252BD4E2}"/>
                </a:ext>
              </a:extLst>
            </p:cNvPr>
            <p:cNvSpPr/>
            <p:nvPr/>
          </p:nvSpPr>
          <p:spPr>
            <a:xfrm>
              <a:off x="13166521"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293" name="Rectangle 292">
              <a:extLst>
                <a:ext uri="{FF2B5EF4-FFF2-40B4-BE49-F238E27FC236}">
                  <a16:creationId xmlns:a16="http://schemas.microsoft.com/office/drawing/2014/main" xmlns="" id="{50E021AB-474D-497B-8013-9743058F57DA}"/>
                </a:ext>
              </a:extLst>
            </p:cNvPr>
            <p:cNvSpPr/>
            <p:nvPr/>
          </p:nvSpPr>
          <p:spPr>
            <a:xfrm>
              <a:off x="17985593" y="4833050"/>
              <a:ext cx="69467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Balanced </a:t>
              </a:r>
            </a:p>
          </p:txBody>
        </p:sp>
        <p:sp>
          <p:nvSpPr>
            <p:cNvPr id="294" name="Rectangle 293">
              <a:extLst>
                <a:ext uri="{FF2B5EF4-FFF2-40B4-BE49-F238E27FC236}">
                  <a16:creationId xmlns:a16="http://schemas.microsoft.com/office/drawing/2014/main" xmlns="" id="{05089309-7EB1-456A-A92A-17A3E8C4F7A9}"/>
                </a:ext>
              </a:extLst>
            </p:cNvPr>
            <p:cNvSpPr/>
            <p:nvPr/>
          </p:nvSpPr>
          <p:spPr>
            <a:xfrm>
              <a:off x="23125989" y="4833050"/>
              <a:ext cx="68902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295" name="Rectangle 294">
              <a:extLst>
                <a:ext uri="{FF2B5EF4-FFF2-40B4-BE49-F238E27FC236}">
                  <a16:creationId xmlns:a16="http://schemas.microsoft.com/office/drawing/2014/main" xmlns="" id="{4F521538-22AA-4836-89C7-13731C1E03CD}"/>
                </a:ext>
              </a:extLst>
            </p:cNvPr>
            <p:cNvSpPr/>
            <p:nvPr/>
          </p:nvSpPr>
          <p:spPr>
            <a:xfrm>
              <a:off x="20458490" y="4833050"/>
              <a:ext cx="96070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sp>
          <p:nvSpPr>
            <p:cNvPr id="296" name="Rectangle 295">
              <a:extLst>
                <a:ext uri="{FF2B5EF4-FFF2-40B4-BE49-F238E27FC236}">
                  <a16:creationId xmlns:a16="http://schemas.microsoft.com/office/drawing/2014/main" xmlns="" id="{6C9BFA04-22F9-4BFA-8500-5BFB2CA18434}"/>
                </a:ext>
              </a:extLst>
            </p:cNvPr>
            <p:cNvSpPr/>
            <p:nvPr/>
          </p:nvSpPr>
          <p:spPr>
            <a:xfrm>
              <a:off x="15501447" y="4833050"/>
              <a:ext cx="543148"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grpSp>
      <p:grpSp>
        <p:nvGrpSpPr>
          <p:cNvPr id="297" name="Group 296">
            <a:extLst>
              <a:ext uri="{FF2B5EF4-FFF2-40B4-BE49-F238E27FC236}">
                <a16:creationId xmlns:a16="http://schemas.microsoft.com/office/drawing/2014/main" xmlns="" id="{C77D83A7-0518-46DF-87BF-DD254DCA70B8}"/>
              </a:ext>
            </a:extLst>
          </p:cNvPr>
          <p:cNvGrpSpPr/>
          <p:nvPr/>
        </p:nvGrpSpPr>
        <p:grpSpPr>
          <a:xfrm rot="5400000">
            <a:off x="8910833" y="3526247"/>
            <a:ext cx="5080815" cy="359545"/>
            <a:chOff x="13166522" y="4833050"/>
            <a:chExt cx="10648487" cy="329377"/>
          </a:xfrm>
        </p:grpSpPr>
        <p:sp>
          <p:nvSpPr>
            <p:cNvPr id="298" name="Rectangle 297">
              <a:extLst>
                <a:ext uri="{FF2B5EF4-FFF2-40B4-BE49-F238E27FC236}">
                  <a16:creationId xmlns:a16="http://schemas.microsoft.com/office/drawing/2014/main" xmlns="" id="{52C7E228-964A-4966-9393-5D093179A799}"/>
                </a:ext>
              </a:extLst>
            </p:cNvPr>
            <p:cNvSpPr/>
            <p:nvPr/>
          </p:nvSpPr>
          <p:spPr>
            <a:xfrm>
              <a:off x="13166522" y="4833050"/>
              <a:ext cx="1353553"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299" name="Rectangle 298">
              <a:extLst>
                <a:ext uri="{FF2B5EF4-FFF2-40B4-BE49-F238E27FC236}">
                  <a16:creationId xmlns:a16="http://schemas.microsoft.com/office/drawing/2014/main" xmlns="" id="{40706AF2-DD75-4735-B1EF-4E08C7958428}"/>
                </a:ext>
              </a:extLst>
            </p:cNvPr>
            <p:cNvSpPr/>
            <p:nvPr/>
          </p:nvSpPr>
          <p:spPr>
            <a:xfrm>
              <a:off x="17985594" y="4833051"/>
              <a:ext cx="154371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Balanced </a:t>
              </a:r>
            </a:p>
          </p:txBody>
        </p:sp>
        <p:sp>
          <p:nvSpPr>
            <p:cNvPr id="300" name="Rectangle 299">
              <a:extLst>
                <a:ext uri="{FF2B5EF4-FFF2-40B4-BE49-F238E27FC236}">
                  <a16:creationId xmlns:a16="http://schemas.microsoft.com/office/drawing/2014/main" xmlns="" id="{5ED3C425-4E77-49DF-BF3F-6E3001749F7D}"/>
                </a:ext>
              </a:extLst>
            </p:cNvPr>
            <p:cNvSpPr/>
            <p:nvPr/>
          </p:nvSpPr>
          <p:spPr>
            <a:xfrm>
              <a:off x="22427079" y="4833050"/>
              <a:ext cx="1387930"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Complete</a:t>
              </a:r>
            </a:p>
          </p:txBody>
        </p:sp>
        <p:sp>
          <p:nvSpPr>
            <p:cNvPr id="301" name="Rectangle 300">
              <a:extLst>
                <a:ext uri="{FF2B5EF4-FFF2-40B4-BE49-F238E27FC236}">
                  <a16:creationId xmlns:a16="http://schemas.microsoft.com/office/drawing/2014/main" xmlns="" id="{BABD7A4D-EFE3-40DB-ACEF-5DBA18BDDDBB}"/>
                </a:ext>
              </a:extLst>
            </p:cNvPr>
            <p:cNvSpPr/>
            <p:nvPr/>
          </p:nvSpPr>
          <p:spPr>
            <a:xfrm>
              <a:off x="20458489" y="4833050"/>
              <a:ext cx="1387929"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sp>
          <p:nvSpPr>
            <p:cNvPr id="302" name="Rectangle 301">
              <a:extLst>
                <a:ext uri="{FF2B5EF4-FFF2-40B4-BE49-F238E27FC236}">
                  <a16:creationId xmlns:a16="http://schemas.microsoft.com/office/drawing/2014/main" xmlns="" id="{C8E99B25-4C5B-4293-ACDF-7E96F3411B40}"/>
                </a:ext>
              </a:extLst>
            </p:cNvPr>
            <p:cNvSpPr/>
            <p:nvPr/>
          </p:nvSpPr>
          <p:spPr>
            <a:xfrm>
              <a:off x="15501452" y="4833050"/>
              <a:ext cx="1658091" cy="3293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800">
                  <a:solidFill>
                    <a:schemeClr val="bg1">
                      <a:lumMod val="50000"/>
                    </a:schemeClr>
                  </a:solidFill>
                </a:rPr>
                <a:t>Partial</a:t>
              </a:r>
            </a:p>
          </p:txBody>
        </p:sp>
      </p:grpSp>
      <p:grpSp>
        <p:nvGrpSpPr>
          <p:cNvPr id="303" name="Group 302">
            <a:extLst>
              <a:ext uri="{FF2B5EF4-FFF2-40B4-BE49-F238E27FC236}">
                <a16:creationId xmlns:a16="http://schemas.microsoft.com/office/drawing/2014/main" xmlns="" id="{22549F37-660D-4CA0-80E9-99F8B4091D59}"/>
              </a:ext>
            </a:extLst>
          </p:cNvPr>
          <p:cNvGrpSpPr/>
          <p:nvPr/>
        </p:nvGrpSpPr>
        <p:grpSpPr>
          <a:xfrm>
            <a:off x="9896744" y="5702894"/>
            <a:ext cx="1075382" cy="516984"/>
            <a:chOff x="8344007" y="5732750"/>
            <a:chExt cx="1075382" cy="516984"/>
          </a:xfrm>
        </p:grpSpPr>
        <p:sp>
          <p:nvSpPr>
            <p:cNvPr id="304" name="Oval 303">
              <a:extLst>
                <a:ext uri="{FF2B5EF4-FFF2-40B4-BE49-F238E27FC236}">
                  <a16:creationId xmlns:a16="http://schemas.microsoft.com/office/drawing/2014/main" xmlns="" id="{41207688-8A6F-4540-A50B-9BFA9051A0E4}"/>
                </a:ext>
              </a:extLst>
            </p:cNvPr>
            <p:cNvSpPr/>
            <p:nvPr/>
          </p:nvSpPr>
          <p:spPr>
            <a:xfrm>
              <a:off x="8731632" y="5732750"/>
              <a:ext cx="216000" cy="216000"/>
            </a:xfrm>
            <a:prstGeom prst="ellipse">
              <a:avLst/>
            </a:prstGeom>
            <a:solidFill>
              <a:schemeClr val="accent6">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05" name="Rectangle 304">
              <a:extLst>
                <a:ext uri="{FF2B5EF4-FFF2-40B4-BE49-F238E27FC236}">
                  <a16:creationId xmlns:a16="http://schemas.microsoft.com/office/drawing/2014/main" xmlns="" id="{84CAA7A0-F1AE-4C4B-B0BC-F2E5FC24DC55}"/>
                </a:ext>
              </a:extLst>
            </p:cNvPr>
            <p:cNvSpPr/>
            <p:nvPr/>
          </p:nvSpPr>
          <p:spPr>
            <a:xfrm>
              <a:off x="8344007" y="5919723"/>
              <a:ext cx="1075382" cy="3300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ICT As-Is</a:t>
              </a:r>
            </a:p>
          </p:txBody>
        </p:sp>
      </p:grpSp>
      <p:grpSp>
        <p:nvGrpSpPr>
          <p:cNvPr id="306" name="Group 305">
            <a:extLst>
              <a:ext uri="{FF2B5EF4-FFF2-40B4-BE49-F238E27FC236}">
                <a16:creationId xmlns:a16="http://schemas.microsoft.com/office/drawing/2014/main" xmlns="" id="{CD51C9BD-71BB-4D8F-BCB8-8DF644530ADF}"/>
              </a:ext>
            </a:extLst>
          </p:cNvPr>
          <p:cNvGrpSpPr/>
          <p:nvPr/>
        </p:nvGrpSpPr>
        <p:grpSpPr>
          <a:xfrm>
            <a:off x="1422722" y="6603121"/>
            <a:ext cx="1000441" cy="225960"/>
            <a:chOff x="422379" y="5399783"/>
            <a:chExt cx="1309562" cy="260820"/>
          </a:xfrm>
        </p:grpSpPr>
        <p:sp>
          <p:nvSpPr>
            <p:cNvPr id="307" name="Oval 306">
              <a:extLst>
                <a:ext uri="{FF2B5EF4-FFF2-40B4-BE49-F238E27FC236}">
                  <a16:creationId xmlns:a16="http://schemas.microsoft.com/office/drawing/2014/main" xmlns="" id="{BF87FC09-6B1B-41E7-8A42-CF7D7D743F64}"/>
                </a:ext>
              </a:extLst>
            </p:cNvPr>
            <p:cNvSpPr/>
            <p:nvPr/>
          </p:nvSpPr>
          <p:spPr>
            <a:xfrm>
              <a:off x="422379" y="5416160"/>
              <a:ext cx="235617" cy="20777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308" name="Rectangle 307">
              <a:extLst>
                <a:ext uri="{FF2B5EF4-FFF2-40B4-BE49-F238E27FC236}">
                  <a16:creationId xmlns:a16="http://schemas.microsoft.com/office/drawing/2014/main" xmlns="" id="{B7174335-2718-4731-BCE9-407004E72004}"/>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MT</a:t>
              </a:r>
            </a:p>
          </p:txBody>
        </p:sp>
      </p:grpSp>
      <p:grpSp>
        <p:nvGrpSpPr>
          <p:cNvPr id="309" name="Group 308">
            <a:extLst>
              <a:ext uri="{FF2B5EF4-FFF2-40B4-BE49-F238E27FC236}">
                <a16:creationId xmlns:a16="http://schemas.microsoft.com/office/drawing/2014/main" xmlns="" id="{E48D63B5-89BF-4453-994A-811439A90331}"/>
              </a:ext>
            </a:extLst>
          </p:cNvPr>
          <p:cNvGrpSpPr/>
          <p:nvPr/>
        </p:nvGrpSpPr>
        <p:grpSpPr>
          <a:xfrm>
            <a:off x="1961155" y="6603121"/>
            <a:ext cx="1000441" cy="225960"/>
            <a:chOff x="422379" y="5399783"/>
            <a:chExt cx="1309562" cy="260820"/>
          </a:xfrm>
        </p:grpSpPr>
        <p:sp>
          <p:nvSpPr>
            <p:cNvPr id="310" name="Oval 309">
              <a:extLst>
                <a:ext uri="{FF2B5EF4-FFF2-40B4-BE49-F238E27FC236}">
                  <a16:creationId xmlns:a16="http://schemas.microsoft.com/office/drawing/2014/main" xmlns="" id="{BB227421-04A4-4C39-A2D2-8D3E6FEB8EAC}"/>
                </a:ext>
              </a:extLst>
            </p:cNvPr>
            <p:cNvSpPr/>
            <p:nvPr/>
          </p:nvSpPr>
          <p:spPr>
            <a:xfrm>
              <a:off x="422379" y="5416160"/>
              <a:ext cx="235617" cy="2077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311" name="Rectangle 310">
              <a:extLst>
                <a:ext uri="{FF2B5EF4-FFF2-40B4-BE49-F238E27FC236}">
                  <a16:creationId xmlns:a16="http://schemas.microsoft.com/office/drawing/2014/main" xmlns="" id="{BBF99479-6D64-4C2E-92DD-690345E89150}"/>
                </a:ext>
              </a:extLst>
            </p:cNvPr>
            <p:cNvSpPr/>
            <p:nvPr/>
          </p:nvSpPr>
          <p:spPr>
            <a:xfrm>
              <a:off x="635974" y="5399783"/>
              <a:ext cx="1095967"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LT</a:t>
              </a:r>
            </a:p>
          </p:txBody>
        </p:sp>
      </p:grpSp>
      <p:grpSp>
        <p:nvGrpSpPr>
          <p:cNvPr id="312" name="Group 311">
            <a:extLst>
              <a:ext uri="{FF2B5EF4-FFF2-40B4-BE49-F238E27FC236}">
                <a16:creationId xmlns:a16="http://schemas.microsoft.com/office/drawing/2014/main" xmlns="" id="{DD1E6C2A-7B0C-4E09-9D43-4D21C539A9F8}"/>
              </a:ext>
            </a:extLst>
          </p:cNvPr>
          <p:cNvGrpSpPr/>
          <p:nvPr/>
        </p:nvGrpSpPr>
        <p:grpSpPr>
          <a:xfrm>
            <a:off x="2474532" y="6576041"/>
            <a:ext cx="1365948" cy="225960"/>
            <a:chOff x="422379" y="5378675"/>
            <a:chExt cx="1788005" cy="260820"/>
          </a:xfrm>
        </p:grpSpPr>
        <p:sp>
          <p:nvSpPr>
            <p:cNvPr id="313" name="Oval 312">
              <a:extLst>
                <a:ext uri="{FF2B5EF4-FFF2-40B4-BE49-F238E27FC236}">
                  <a16:creationId xmlns:a16="http://schemas.microsoft.com/office/drawing/2014/main" xmlns="" id="{B8BE5CEA-2E64-4F21-908F-DD5A357584CE}"/>
                </a:ext>
              </a:extLst>
            </p:cNvPr>
            <p:cNvSpPr/>
            <p:nvPr/>
          </p:nvSpPr>
          <p:spPr>
            <a:xfrm>
              <a:off x="422379" y="5416160"/>
              <a:ext cx="235617" cy="207770"/>
            </a:xfrm>
            <a:prstGeom prst="ellipse">
              <a:avLst/>
            </a:prstGeom>
            <a:solidFill>
              <a:schemeClr val="accent1">
                <a:lumMod val="10000"/>
                <a:lumOff val="90000"/>
              </a:schemeClr>
            </a:solidFill>
            <a:ln>
              <a:solidFill>
                <a:schemeClr val="accent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sp>
          <p:nvSpPr>
            <p:cNvPr id="314" name="Rectangle 313">
              <a:extLst>
                <a:ext uri="{FF2B5EF4-FFF2-40B4-BE49-F238E27FC236}">
                  <a16:creationId xmlns:a16="http://schemas.microsoft.com/office/drawing/2014/main" xmlns="" id="{E379DB60-D117-4904-9BFD-2F4B8BEC698E}"/>
                </a:ext>
              </a:extLst>
            </p:cNvPr>
            <p:cNvSpPr/>
            <p:nvPr/>
          </p:nvSpPr>
          <p:spPr>
            <a:xfrm>
              <a:off x="627994" y="5378675"/>
              <a:ext cx="1582390" cy="2608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900">
                  <a:solidFill>
                    <a:schemeClr val="tx1"/>
                  </a:solidFill>
                </a:rPr>
                <a:t>Change Management Focus</a:t>
              </a:r>
            </a:p>
          </p:txBody>
        </p:sp>
      </p:grpSp>
      <p:grpSp>
        <p:nvGrpSpPr>
          <p:cNvPr id="315" name="Group 314">
            <a:extLst>
              <a:ext uri="{FF2B5EF4-FFF2-40B4-BE49-F238E27FC236}">
                <a16:creationId xmlns:a16="http://schemas.microsoft.com/office/drawing/2014/main" xmlns="" id="{6A659667-3DE3-43A2-9471-CCF0318F9799}"/>
              </a:ext>
            </a:extLst>
          </p:cNvPr>
          <p:cNvGrpSpPr/>
          <p:nvPr/>
        </p:nvGrpSpPr>
        <p:grpSpPr>
          <a:xfrm>
            <a:off x="719206" y="3658492"/>
            <a:ext cx="2999641" cy="1721436"/>
            <a:chOff x="7168089" y="1505722"/>
            <a:chExt cx="2999641" cy="1721436"/>
          </a:xfrm>
        </p:grpSpPr>
        <p:grpSp>
          <p:nvGrpSpPr>
            <p:cNvPr id="316" name="Group 315">
              <a:extLst>
                <a:ext uri="{FF2B5EF4-FFF2-40B4-BE49-F238E27FC236}">
                  <a16:creationId xmlns:a16="http://schemas.microsoft.com/office/drawing/2014/main" xmlns="" id="{AE06BB7C-6A65-4405-ACD4-C9093871B5AA}"/>
                </a:ext>
              </a:extLst>
            </p:cNvPr>
            <p:cNvGrpSpPr/>
            <p:nvPr/>
          </p:nvGrpSpPr>
          <p:grpSpPr>
            <a:xfrm>
              <a:off x="7168089" y="1505722"/>
              <a:ext cx="2999641" cy="1721436"/>
              <a:chOff x="7198355" y="471694"/>
              <a:chExt cx="2999641" cy="1721436"/>
            </a:xfrm>
          </p:grpSpPr>
          <p:grpSp>
            <p:nvGrpSpPr>
              <p:cNvPr id="318" name="Group 317">
                <a:extLst>
                  <a:ext uri="{FF2B5EF4-FFF2-40B4-BE49-F238E27FC236}">
                    <a16:creationId xmlns:a16="http://schemas.microsoft.com/office/drawing/2014/main" xmlns="" id="{3CB6FC32-501D-41BD-B1B5-5B114A224D43}"/>
                  </a:ext>
                </a:extLst>
              </p:cNvPr>
              <p:cNvGrpSpPr/>
              <p:nvPr/>
            </p:nvGrpSpPr>
            <p:grpSpPr>
              <a:xfrm>
                <a:off x="8131519" y="1573379"/>
                <a:ext cx="1150593" cy="619751"/>
                <a:chOff x="7671950" y="5434526"/>
                <a:chExt cx="1150593" cy="619751"/>
              </a:xfrm>
            </p:grpSpPr>
            <p:sp>
              <p:nvSpPr>
                <p:cNvPr id="320" name="Oval 319">
                  <a:extLst>
                    <a:ext uri="{FF2B5EF4-FFF2-40B4-BE49-F238E27FC236}">
                      <a16:creationId xmlns:a16="http://schemas.microsoft.com/office/drawing/2014/main" xmlns="" id="{837B92F1-9658-4E75-87E5-2F1F3554650B}"/>
                    </a:ext>
                  </a:extLst>
                </p:cNvPr>
                <p:cNvSpPr/>
                <p:nvPr/>
              </p:nvSpPr>
              <p:spPr>
                <a:xfrm>
                  <a:off x="8046154" y="5434526"/>
                  <a:ext cx="216000" cy="216000"/>
                </a:xfrm>
                <a:prstGeom prst="ellips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21" name="Rectangle 320">
                  <a:extLst>
                    <a:ext uri="{FF2B5EF4-FFF2-40B4-BE49-F238E27FC236}">
                      <a16:creationId xmlns:a16="http://schemas.microsoft.com/office/drawing/2014/main" xmlns="" id="{8B0BD252-A533-4830-B0E7-26F0FA322A6C}"/>
                    </a:ext>
                  </a:extLst>
                </p:cNvPr>
                <p:cNvSpPr/>
                <p:nvPr/>
              </p:nvSpPr>
              <p:spPr>
                <a:xfrm>
                  <a:off x="7671950" y="5722928"/>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ICT (To-Be) (LT)</a:t>
                  </a:r>
                </a:p>
              </p:txBody>
            </p:sp>
          </p:grpSp>
          <p:sp>
            <p:nvSpPr>
              <p:cNvPr id="319" name="Rectangle 318">
                <a:extLst>
                  <a:ext uri="{FF2B5EF4-FFF2-40B4-BE49-F238E27FC236}">
                    <a16:creationId xmlns:a16="http://schemas.microsoft.com/office/drawing/2014/main" xmlns="" id="{8DFC1DDD-D2DC-4A75-9DB5-34338CDAA90E}"/>
                  </a:ext>
                </a:extLst>
              </p:cNvPr>
              <p:cNvSpPr/>
              <p:nvPr/>
            </p:nvSpPr>
            <p:spPr>
              <a:xfrm>
                <a:off x="7198355" y="471694"/>
                <a:ext cx="2999641" cy="95153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dirty="0">
                    <a:solidFill>
                      <a:schemeClr val="tx1"/>
                    </a:solidFill>
                  </a:rPr>
                  <a:t>The future state of ICT as a highly centralised function is envisaged via technology in the long term, with decentralised access to systems, but centralised decision making regarding ICT.</a:t>
                </a:r>
              </a:p>
            </p:txBody>
          </p:sp>
        </p:grpSp>
        <p:sp>
          <p:nvSpPr>
            <p:cNvPr id="317" name="Oval 316">
              <a:extLst>
                <a:ext uri="{FF2B5EF4-FFF2-40B4-BE49-F238E27FC236}">
                  <a16:creationId xmlns:a16="http://schemas.microsoft.com/office/drawing/2014/main" xmlns="" id="{53A40DA8-5A44-4AF5-962E-9509A6AA5803}"/>
                </a:ext>
              </a:extLst>
            </p:cNvPr>
            <p:cNvSpPr/>
            <p:nvPr/>
          </p:nvSpPr>
          <p:spPr>
            <a:xfrm>
              <a:off x="8743160" y="2610966"/>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grpSp>
        <p:nvGrpSpPr>
          <p:cNvPr id="322" name="Group 321">
            <a:extLst>
              <a:ext uri="{FF2B5EF4-FFF2-40B4-BE49-F238E27FC236}">
                <a16:creationId xmlns:a16="http://schemas.microsoft.com/office/drawing/2014/main" xmlns="" id="{B35A35AD-1632-4D71-A6D6-97966E0BFE17}"/>
              </a:ext>
            </a:extLst>
          </p:cNvPr>
          <p:cNvGrpSpPr/>
          <p:nvPr/>
        </p:nvGrpSpPr>
        <p:grpSpPr>
          <a:xfrm>
            <a:off x="4947693" y="3658492"/>
            <a:ext cx="2999641" cy="2091937"/>
            <a:chOff x="7949533" y="2067124"/>
            <a:chExt cx="2999641" cy="2091937"/>
          </a:xfrm>
        </p:grpSpPr>
        <p:grpSp>
          <p:nvGrpSpPr>
            <p:cNvPr id="323" name="Group 322">
              <a:extLst>
                <a:ext uri="{FF2B5EF4-FFF2-40B4-BE49-F238E27FC236}">
                  <a16:creationId xmlns:a16="http://schemas.microsoft.com/office/drawing/2014/main" xmlns="" id="{25543F18-0B43-4267-B196-E260D2B453EE}"/>
                </a:ext>
              </a:extLst>
            </p:cNvPr>
            <p:cNvGrpSpPr/>
            <p:nvPr/>
          </p:nvGrpSpPr>
          <p:grpSpPr>
            <a:xfrm>
              <a:off x="7949533" y="2067124"/>
              <a:ext cx="2999641" cy="2091937"/>
              <a:chOff x="7964116" y="1695035"/>
              <a:chExt cx="2999641" cy="2091937"/>
            </a:xfrm>
          </p:grpSpPr>
          <p:grpSp>
            <p:nvGrpSpPr>
              <p:cNvPr id="325" name="Group 324">
                <a:extLst>
                  <a:ext uri="{FF2B5EF4-FFF2-40B4-BE49-F238E27FC236}">
                    <a16:creationId xmlns:a16="http://schemas.microsoft.com/office/drawing/2014/main" xmlns="" id="{C16A7033-EFAB-4C3E-A523-592A704F163D}"/>
                  </a:ext>
                </a:extLst>
              </p:cNvPr>
              <p:cNvGrpSpPr/>
              <p:nvPr/>
            </p:nvGrpSpPr>
            <p:grpSpPr>
              <a:xfrm>
                <a:off x="8131519" y="3167221"/>
                <a:ext cx="1150593" cy="619751"/>
                <a:chOff x="7671950" y="5434526"/>
                <a:chExt cx="1150593" cy="619751"/>
              </a:xfrm>
            </p:grpSpPr>
            <p:sp>
              <p:nvSpPr>
                <p:cNvPr id="327" name="Oval 326">
                  <a:extLst>
                    <a:ext uri="{FF2B5EF4-FFF2-40B4-BE49-F238E27FC236}">
                      <a16:creationId xmlns:a16="http://schemas.microsoft.com/office/drawing/2014/main" xmlns="" id="{C4FA6526-8D83-4189-9926-59611D02235E}"/>
                    </a:ext>
                  </a:extLst>
                </p:cNvPr>
                <p:cNvSpPr/>
                <p:nvPr/>
              </p:nvSpPr>
              <p:spPr>
                <a:xfrm>
                  <a:off x="8046154" y="5434526"/>
                  <a:ext cx="216000" cy="216000"/>
                </a:xfrm>
                <a:prstGeom prst="ellipse">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28" name="Rectangle 327">
                  <a:extLst>
                    <a:ext uri="{FF2B5EF4-FFF2-40B4-BE49-F238E27FC236}">
                      <a16:creationId xmlns:a16="http://schemas.microsoft.com/office/drawing/2014/main" xmlns="" id="{5DD33B1E-6767-4BFD-AD09-CE1EB1933AAB}"/>
                    </a:ext>
                  </a:extLst>
                </p:cNvPr>
                <p:cNvSpPr/>
                <p:nvPr/>
              </p:nvSpPr>
              <p:spPr>
                <a:xfrm>
                  <a:off x="7671950" y="5722928"/>
                  <a:ext cx="1150593" cy="331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sz="1200">
                      <a:solidFill>
                        <a:sysClr val="windowText" lastClr="000000"/>
                      </a:solidFill>
                    </a:rPr>
                    <a:t>ICT (To-Be) (MT)</a:t>
                  </a:r>
                </a:p>
              </p:txBody>
            </p:sp>
          </p:grpSp>
          <p:sp>
            <p:nvSpPr>
              <p:cNvPr id="326" name="Rectangle 325">
                <a:extLst>
                  <a:ext uri="{FF2B5EF4-FFF2-40B4-BE49-F238E27FC236}">
                    <a16:creationId xmlns:a16="http://schemas.microsoft.com/office/drawing/2014/main" xmlns="" id="{56B9844F-68DE-4D14-A3E4-AA5397B75B47}"/>
                  </a:ext>
                </a:extLst>
              </p:cNvPr>
              <p:cNvSpPr/>
              <p:nvPr/>
            </p:nvSpPr>
            <p:spPr>
              <a:xfrm>
                <a:off x="7964116" y="1695035"/>
                <a:ext cx="2999641" cy="1331711"/>
              </a:xfrm>
              <a:prstGeom prst="rect">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a:solidFill>
                      <a:schemeClr val="tx1"/>
                    </a:solidFill>
                  </a:rPr>
                  <a:t>The ICT centralisation of control depends heavily on the implementation and integration of systems across the value chain. Some partial outsourcing of highly bespoke and highly generalised functions within ICT, relationships can begin to be formalised.</a:t>
                </a:r>
              </a:p>
            </p:txBody>
          </p:sp>
        </p:grpSp>
        <p:sp>
          <p:nvSpPr>
            <p:cNvPr id="324" name="Oval 323">
              <a:extLst>
                <a:ext uri="{FF2B5EF4-FFF2-40B4-BE49-F238E27FC236}">
                  <a16:creationId xmlns:a16="http://schemas.microsoft.com/office/drawing/2014/main" xmlns="" id="{60688C6C-E6DD-4301-A1C0-BC8B37A82674}"/>
                </a:ext>
              </a:extLst>
            </p:cNvPr>
            <p:cNvSpPr/>
            <p:nvPr/>
          </p:nvSpPr>
          <p:spPr>
            <a:xfrm>
              <a:off x="8757685" y="3544762"/>
              <a:ext cx="216000" cy="216000"/>
            </a:xfrm>
            <a:prstGeom prst="ellipse">
              <a:avLst/>
            </a:prstGeom>
            <a:solidFill>
              <a:schemeClr val="accent1">
                <a:lumMod val="10000"/>
                <a:lumOff val="90000"/>
              </a:schemeClr>
            </a:solidFill>
            <a:ln>
              <a:solidFill>
                <a:schemeClr val="accent1">
                  <a:lumMod val="50000"/>
                  <a:lumOff val="50000"/>
                </a:schemeClr>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a:p>
          </p:txBody>
        </p:sp>
      </p:grpSp>
      <p:sp>
        <p:nvSpPr>
          <p:cNvPr id="329" name="TextBox 328">
            <a:extLst>
              <a:ext uri="{FF2B5EF4-FFF2-40B4-BE49-F238E27FC236}">
                <a16:creationId xmlns:a16="http://schemas.microsoft.com/office/drawing/2014/main" xmlns="" id="{D4BBB5B5-42A5-4A83-90CA-712EAC54C793}"/>
              </a:ext>
            </a:extLst>
          </p:cNvPr>
          <p:cNvSpPr txBox="1"/>
          <p:nvPr/>
        </p:nvSpPr>
        <p:spPr>
          <a:xfrm>
            <a:off x="6376181" y="1278852"/>
            <a:ext cx="4979353" cy="338554"/>
          </a:xfrm>
          <a:prstGeom prst="rect">
            <a:avLst/>
          </a:prstGeom>
          <a:solidFill>
            <a:schemeClr val="bg1">
              <a:lumMod val="95000"/>
            </a:schemeClr>
          </a:solidFill>
        </p:spPr>
        <p:txBody>
          <a:bodyPr wrap="square" rtlCol="0">
            <a:spAutoFit/>
          </a:bodyPr>
          <a:lstStyle/>
          <a:p>
            <a:pPr algn="ctr"/>
            <a:r>
              <a:rPr lang="en-ZA" sz="1600" b="1" u="sng">
                <a:solidFill>
                  <a:sysClr val="windowText" lastClr="000000"/>
                </a:solidFill>
              </a:rPr>
              <a:t>ICT: PARTIAL INSOURCE - COMPLETE CENTRALISED</a:t>
            </a:r>
          </a:p>
        </p:txBody>
      </p:sp>
      <p:sp>
        <p:nvSpPr>
          <p:cNvPr id="4" name="TextBox 3"/>
          <p:cNvSpPr txBox="1"/>
          <p:nvPr/>
        </p:nvSpPr>
        <p:spPr>
          <a:xfrm>
            <a:off x="116168" y="-11420"/>
            <a:ext cx="11945693" cy="707886"/>
          </a:xfrm>
          <a:prstGeom prst="rect">
            <a:avLst/>
          </a:prstGeom>
          <a:noFill/>
        </p:spPr>
        <p:txBody>
          <a:bodyPr wrap="square" rtlCol="0">
            <a:spAutoFit/>
          </a:bodyPr>
          <a:lstStyle/>
          <a:p>
            <a:r>
              <a:rPr lang="en-US" sz="2000" b="1" dirty="0">
                <a:solidFill>
                  <a:srgbClr val="000000"/>
                </a:solidFill>
                <a:latin typeface="Georgia"/>
                <a:ea typeface="+mj-ea"/>
                <a:cs typeface="+mj-cs"/>
              </a:rPr>
              <a:t>ICT’s </a:t>
            </a:r>
            <a:r>
              <a:rPr lang="en-US" sz="2000" b="1" dirty="0" err="1">
                <a:solidFill>
                  <a:srgbClr val="000000"/>
                </a:solidFill>
                <a:latin typeface="Georgia"/>
                <a:ea typeface="+mj-ea"/>
                <a:cs typeface="+mj-cs"/>
              </a:rPr>
              <a:t>centralisation</a:t>
            </a:r>
            <a:r>
              <a:rPr lang="en-US" sz="2000" b="1" dirty="0">
                <a:solidFill>
                  <a:srgbClr val="000000"/>
                </a:solidFill>
                <a:latin typeface="Georgia"/>
                <a:ea typeface="+mj-ea"/>
                <a:cs typeface="+mj-cs"/>
              </a:rPr>
              <a:t> of control depends highly on systems implementation and integration with some outsourcing </a:t>
            </a:r>
            <a:r>
              <a:rPr lang="en-US" sz="2000" b="1" dirty="0" smtClean="0">
                <a:solidFill>
                  <a:srgbClr val="000000"/>
                </a:solidFill>
                <a:latin typeface="Georgia"/>
                <a:ea typeface="+mj-ea"/>
                <a:cs typeface="+mj-cs"/>
              </a:rPr>
              <a:t>envisaged</a:t>
            </a:r>
            <a:endParaRPr lang="en-US" sz="2000" b="1" dirty="0">
              <a:solidFill>
                <a:srgbClr val="000000"/>
              </a:solidFill>
              <a:latin typeface="Georgia"/>
              <a:ea typeface="+mj-ea"/>
              <a:cs typeface="+mj-cs"/>
            </a:endParaRPr>
          </a:p>
        </p:txBody>
      </p:sp>
    </p:spTree>
    <p:extLst>
      <p:ext uri="{BB962C8B-B14F-4D97-AF65-F5344CB8AC3E}">
        <p14:creationId xmlns:p14="http://schemas.microsoft.com/office/powerpoint/2010/main" val="19293407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90220" y="142012"/>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3200" b="1" dirty="0" smtClean="0">
                <a:solidFill>
                  <a:srgbClr val="000000"/>
                </a:solidFill>
                <a:latin typeface="Georgia"/>
                <a:sym typeface="Calibri"/>
              </a:rPr>
              <a:t>Modes of service delivery for ICT</a:t>
            </a:r>
            <a:endParaRPr lang="en-US" sz="3200" b="1" dirty="0">
              <a:solidFill>
                <a:srgbClr val="000000"/>
              </a:solidFill>
              <a:latin typeface="Georgia"/>
            </a:endParaRPr>
          </a:p>
        </p:txBody>
      </p:sp>
      <p:sp>
        <p:nvSpPr>
          <p:cNvPr id="2" name="Rectangle 1"/>
          <p:cNvSpPr/>
          <p:nvPr/>
        </p:nvSpPr>
        <p:spPr>
          <a:xfrm>
            <a:off x="404191" y="2467094"/>
            <a:ext cx="2385137" cy="2751522"/>
          </a:xfrm>
          <a:prstGeom prst="rect">
            <a:avLst/>
          </a:prstGeom>
        </p:spPr>
        <p:txBody>
          <a:bodyPr wrap="square">
            <a:spAutoFit/>
          </a:bodyPr>
          <a:lstStyle/>
          <a:p>
            <a:pPr lvl="0" algn="just" defTabSz="869137">
              <a:lnSpc>
                <a:spcPct val="90000"/>
              </a:lnSpc>
              <a:spcBef>
                <a:spcPts val="951"/>
              </a:spcBef>
            </a:pPr>
            <a:r>
              <a:rPr lang="en-US" sz="1600" b="1" dirty="0">
                <a:solidFill>
                  <a:sysClr val="windowText" lastClr="000000"/>
                </a:solidFill>
                <a:latin typeface="Lato"/>
              </a:rPr>
              <a:t>ICT should be fully </a:t>
            </a:r>
            <a:r>
              <a:rPr lang="en-US" sz="1600" b="1" dirty="0" err="1">
                <a:solidFill>
                  <a:sysClr val="windowText" lastClr="000000"/>
                </a:solidFill>
                <a:latin typeface="Lato"/>
              </a:rPr>
              <a:t>centralised</a:t>
            </a:r>
            <a:r>
              <a:rPr lang="en-US" sz="1600" b="1" dirty="0">
                <a:solidFill>
                  <a:sysClr val="windowText" lastClr="000000"/>
                </a:solidFill>
                <a:latin typeface="Lato"/>
              </a:rPr>
              <a:t> if key functions are automated, however more partnerships must be leveraged where greater emphasis must be on ensuring the relevant skills mix required to adequately Govern ICT risks</a:t>
            </a:r>
            <a:endParaRPr lang="en-US" sz="1600" b="1" dirty="0">
              <a:solidFill>
                <a:sysClr val="windowText" lastClr="000000"/>
              </a:solidFill>
              <a:latin typeface="Lato"/>
            </a:endParaRPr>
          </a:p>
        </p:txBody>
      </p:sp>
      <p:sp>
        <p:nvSpPr>
          <p:cNvPr id="7" name="Rectangle 6">
            <a:extLst>
              <a:ext uri="{FF2B5EF4-FFF2-40B4-BE49-F238E27FC236}">
                <a16:creationId xmlns="" xmlns:a16="http://schemas.microsoft.com/office/drawing/2014/main" id="{265594CA-0F1B-4C3D-9FBC-EA09A76F868D}"/>
              </a:ext>
            </a:extLst>
          </p:cNvPr>
          <p:cNvSpPr/>
          <p:nvPr/>
        </p:nvSpPr>
        <p:spPr>
          <a:xfrm>
            <a:off x="3110591" y="1320253"/>
            <a:ext cx="3465365" cy="4976954"/>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Propose</a:t>
            </a:r>
            <a:r>
              <a:rPr kumimoji="0" lang="en-ZA" b="1" i="0" u="none" strike="noStrike" kern="0" cap="none" spc="0" normalizeH="0" baseline="0" noProof="0" dirty="0" smtClean="0">
                <a:ln>
                  <a:noFill/>
                </a:ln>
                <a:solidFill>
                  <a:prstClr val="black"/>
                </a:solidFill>
                <a:effectLst/>
                <a:highlight>
                  <a:srgbClr val="FFFFFF"/>
                </a:highlight>
                <a:uLnTx/>
                <a:uFillTx/>
                <a:latin typeface="Lato"/>
              </a:rPr>
              <a:t>d</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171450" lvl="0" indent="-171450" defTabSz="457200">
              <a:spcAft>
                <a:spcPts val="600"/>
              </a:spcAft>
              <a:buFont typeface="Arial" panose="020B0604020202020204" pitchFamily="34" charset="0"/>
              <a:buChar char="•"/>
            </a:pPr>
            <a:r>
              <a:rPr lang="en-US" sz="1600" dirty="0" err="1">
                <a:solidFill>
                  <a:prstClr val="black"/>
                </a:solidFill>
                <a:highlight>
                  <a:srgbClr val="FFFFFF"/>
                </a:highlight>
                <a:latin typeface="Lato"/>
              </a:rPr>
              <a:t>Centralise</a:t>
            </a:r>
            <a:r>
              <a:rPr lang="en-US" sz="1600" dirty="0">
                <a:solidFill>
                  <a:prstClr val="black"/>
                </a:solidFill>
                <a:highlight>
                  <a:srgbClr val="FFFFFF"/>
                </a:highlight>
                <a:latin typeface="Lato"/>
              </a:rPr>
              <a:t> through automation and decision making</a:t>
            </a:r>
          </a:p>
          <a:p>
            <a:pPr marL="171450" lvl="0" indent="-171450" defTabSz="457200">
              <a:spcAft>
                <a:spcPts val="600"/>
              </a:spcAft>
              <a:buFont typeface="Arial" panose="020B0604020202020204" pitchFamily="34" charset="0"/>
              <a:buChar char="•"/>
            </a:pPr>
            <a:r>
              <a:rPr lang="en-US" sz="1600" dirty="0">
                <a:solidFill>
                  <a:prstClr val="black"/>
                </a:solidFill>
                <a:highlight>
                  <a:srgbClr val="FFFFFF"/>
                </a:highlight>
                <a:latin typeface="Lato"/>
              </a:rPr>
              <a:t>Maintain Finance, Logistics and HR as government wide systems that are transversally managed</a:t>
            </a:r>
          </a:p>
          <a:p>
            <a:pPr marL="171450" lvl="0" indent="-171450" defTabSz="457200">
              <a:spcAft>
                <a:spcPts val="600"/>
              </a:spcAft>
              <a:buFont typeface="Arial" panose="020B0604020202020204" pitchFamily="34" charset="0"/>
              <a:buChar char="•"/>
            </a:pPr>
            <a:r>
              <a:rPr lang="en-US" sz="1600" dirty="0">
                <a:solidFill>
                  <a:prstClr val="black"/>
                </a:solidFill>
                <a:highlight>
                  <a:srgbClr val="FFFFFF"/>
                </a:highlight>
                <a:latin typeface="Lato"/>
              </a:rPr>
              <a:t>Opportunity for SITA arrangement with partnerships and extending relationships with CSIR on technological innovation</a:t>
            </a:r>
          </a:p>
          <a:p>
            <a:pPr marL="171450" lvl="0" indent="-171450" defTabSz="457200">
              <a:spcAft>
                <a:spcPts val="600"/>
              </a:spcAft>
              <a:buFont typeface="Arial" panose="020B0604020202020204" pitchFamily="34" charset="0"/>
              <a:buChar char="•"/>
            </a:pPr>
            <a:r>
              <a:rPr lang="en-US" sz="1600" dirty="0">
                <a:solidFill>
                  <a:prstClr val="black"/>
                </a:solidFill>
                <a:highlight>
                  <a:srgbClr val="FFFFFF"/>
                </a:highlight>
                <a:latin typeface="Lato"/>
              </a:rPr>
              <a:t>Enterprise architecture cannot be insourced should be outsourced along with cybercrime, as this area is too specialized will require partnerships and arrangements with other </a:t>
            </a:r>
            <a:r>
              <a:rPr lang="en-US" sz="1600" dirty="0" smtClean="0">
                <a:solidFill>
                  <a:prstClr val="black"/>
                </a:solidFill>
                <a:highlight>
                  <a:srgbClr val="FFFFFF"/>
                </a:highlight>
                <a:latin typeface="Lato"/>
              </a:rPr>
              <a:t>entities</a:t>
            </a:r>
            <a:endParaRPr lang="en-US" sz="1100" kern="0" dirty="0">
              <a:solidFill>
                <a:prstClr val="black"/>
              </a:solidFill>
              <a:latin typeface="Lato"/>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8" name="Rectangle 7">
            <a:extLst>
              <a:ext uri="{FF2B5EF4-FFF2-40B4-BE49-F238E27FC236}">
                <a16:creationId xmlns="" xmlns:a16="http://schemas.microsoft.com/office/drawing/2014/main" id="{265594CA-0F1B-4C3D-9FBC-EA09A76F868D}"/>
              </a:ext>
            </a:extLst>
          </p:cNvPr>
          <p:cNvSpPr/>
          <p:nvPr/>
        </p:nvSpPr>
        <p:spPr>
          <a:xfrm>
            <a:off x="6653048" y="1313522"/>
            <a:ext cx="5283848" cy="4984535"/>
          </a:xfrm>
          <a:prstGeom prst="rect">
            <a:avLst/>
          </a:prstGeom>
          <a:solidFill>
            <a:sysClr val="window" lastClr="FFFFFF"/>
          </a:solidFill>
          <a:ln w="38100" cap="flat" cmpd="sng" algn="ctr">
            <a:solidFill>
              <a:srgbClr val="548235"/>
            </a:solidFill>
            <a:prstDash val="solid"/>
            <a:miter lim="800000"/>
          </a:ln>
          <a:effectLst/>
        </p:spPr>
        <p:txBody>
          <a:bodyPr rtlCol="0" anchor="t"/>
          <a:lstStyle/>
          <a:p>
            <a:pPr marL="0" marR="0" lvl="0" indent="0" defTabSz="457200" eaLnBrk="1" fontAlgn="auto" latinLnBrk="0" hangingPunct="1">
              <a:lnSpc>
                <a:spcPct val="100000"/>
              </a:lnSpc>
              <a:spcBef>
                <a:spcPts val="0"/>
              </a:spcBef>
              <a:spcAft>
                <a:spcPts val="0"/>
              </a:spcAft>
              <a:buClrTx/>
              <a:buSzTx/>
              <a:buFontTx/>
              <a:buNone/>
              <a:tabLst/>
              <a:defRPr/>
            </a:pPr>
            <a:r>
              <a:rPr kumimoji="0" lang="en-ZA" b="1" i="0" u="none" strike="noStrike" kern="0" cap="none" spc="0" normalizeH="0" baseline="0" noProof="0" dirty="0" smtClean="0">
                <a:ln>
                  <a:noFill/>
                </a:ln>
                <a:solidFill>
                  <a:prstClr val="black"/>
                </a:solidFill>
                <a:effectLst/>
                <a:uLnTx/>
                <a:uFillTx/>
                <a:latin typeface="Lato"/>
              </a:rPr>
              <a:t>What needs to be done to </a:t>
            </a:r>
            <a:r>
              <a:rPr lang="en-ZA" b="1" kern="0" dirty="0" smtClean="0">
                <a:solidFill>
                  <a:prstClr val="black"/>
                </a:solidFill>
                <a:latin typeface="Lato"/>
              </a:rPr>
              <a:t>fast-track</a:t>
            </a:r>
            <a:endParaRPr kumimoji="0" lang="en-ZA" b="0" i="0" u="none" strike="noStrike" kern="0" cap="none" spc="0" normalizeH="0" baseline="0" noProof="0" dirty="0" smtClean="0">
              <a:ln>
                <a:noFill/>
              </a:ln>
              <a:solidFill>
                <a:prstClr val="black"/>
              </a:solidFill>
              <a:effectLst/>
              <a:highlight>
                <a:srgbClr val="FFFFFF"/>
              </a:highlight>
              <a:uLnTx/>
              <a:uFillTx/>
              <a:latin typeface="Lato"/>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ZA" sz="1000" b="0" i="0" u="none" strike="noStrike" kern="0" cap="none" spc="0" normalizeH="0" baseline="0" noProof="0" dirty="0" smtClean="0">
              <a:ln>
                <a:noFill/>
              </a:ln>
              <a:solidFill>
                <a:prstClr val="black"/>
              </a:solidFill>
              <a:effectLst/>
              <a:uLnTx/>
              <a:uFillTx/>
              <a:latin typeface="Lato"/>
            </a:endParaRPr>
          </a:p>
        </p:txBody>
      </p:sp>
      <p:sp>
        <p:nvSpPr>
          <p:cNvPr id="11" name="TextBox 10">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
        <p:nvSpPr>
          <p:cNvPr id="16" name="Rectangle 15">
            <a:extLst>
              <a:ext uri="{FF2B5EF4-FFF2-40B4-BE49-F238E27FC236}">
                <a16:creationId xmlns:a16="http://schemas.microsoft.com/office/drawing/2014/main" xmlns="" id="{27E3CA0A-70BA-40BB-B250-A98C7FF32196}"/>
              </a:ext>
            </a:extLst>
          </p:cNvPr>
          <p:cNvSpPr/>
          <p:nvPr/>
        </p:nvSpPr>
        <p:spPr>
          <a:xfrm rot="16200000">
            <a:off x="69635" y="1665264"/>
            <a:ext cx="996491" cy="327379"/>
          </a:xfrm>
          <a:prstGeom prst="rect">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000" b="1" dirty="0" smtClean="0">
                <a:solidFill>
                  <a:schemeClr val="bg1"/>
                </a:solidFill>
              </a:rPr>
              <a:t>ICT</a:t>
            </a:r>
            <a:endParaRPr lang="en-ZA" sz="800" b="1" dirty="0">
              <a:solidFill>
                <a:schemeClr val="bg1"/>
              </a:solidFill>
            </a:endParaRPr>
          </a:p>
        </p:txBody>
      </p:sp>
      <p:pic>
        <p:nvPicPr>
          <p:cNvPr id="18" name="Picture 17">
            <a:extLst>
              <a:ext uri="{FF2B5EF4-FFF2-40B4-BE49-F238E27FC236}">
                <a16:creationId xmlns:a16="http://schemas.microsoft.com/office/drawing/2014/main" xmlns="" id="{BB3931D9-A5AF-456F-8BCB-5017E8720558}"/>
              </a:ext>
            </a:extLst>
          </p:cNvPr>
          <p:cNvPicPr>
            <a:picLocks noChangeAspect="1"/>
          </p:cNvPicPr>
          <p:nvPr/>
        </p:nvPicPr>
        <p:blipFill>
          <a:blip r:embed="rId3"/>
          <a:stretch>
            <a:fillRect/>
          </a:stretch>
        </p:blipFill>
        <p:spPr>
          <a:xfrm>
            <a:off x="731570" y="1330708"/>
            <a:ext cx="2148195" cy="1008000"/>
          </a:xfrm>
          <a:prstGeom prst="rect">
            <a:avLst/>
          </a:prstGeom>
        </p:spPr>
      </p:pic>
    </p:spTree>
    <p:extLst>
      <p:ext uri="{BB962C8B-B14F-4D97-AF65-F5344CB8AC3E}">
        <p14:creationId xmlns:p14="http://schemas.microsoft.com/office/powerpoint/2010/main" val="410195214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4000" b="1" dirty="0" smtClean="0">
                <a:solidFill>
                  <a:srgbClr val="000000"/>
                </a:solidFill>
                <a:latin typeface="Georgia"/>
              </a:rPr>
              <a:t>Strategic Risks</a:t>
            </a:r>
            <a:endParaRPr sz="4000" b="1" dirty="0">
              <a:solidFill>
                <a:srgbClr val="000000"/>
              </a:solidFill>
              <a:latin typeface="Georgia"/>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graphicFrame>
        <p:nvGraphicFramePr>
          <p:cNvPr id="8" name="Table 7"/>
          <p:cNvGraphicFramePr>
            <a:graphicFrameLocks noGrp="1"/>
          </p:cNvGraphicFramePr>
          <p:nvPr>
            <p:extLst>
              <p:ext uri="{D42A27DB-BD31-4B8C-83A1-F6EECF244321}">
                <p14:modId xmlns:p14="http://schemas.microsoft.com/office/powerpoint/2010/main" val="636282766"/>
              </p:ext>
            </p:extLst>
          </p:nvPr>
        </p:nvGraphicFramePr>
        <p:xfrm>
          <a:off x="492754" y="1232661"/>
          <a:ext cx="11260881" cy="2240004"/>
        </p:xfrm>
        <a:graphic>
          <a:graphicData uri="http://schemas.openxmlformats.org/drawingml/2006/table">
            <a:tbl>
              <a:tblPr firstRow="1" bandRow="1">
                <a:tableStyleId>{93296810-A885-4BE3-A3E7-6D5BEEA58F35}</a:tableStyleId>
              </a:tblPr>
              <a:tblGrid>
                <a:gridCol w="3753627"/>
                <a:gridCol w="3753627"/>
                <a:gridCol w="3753627"/>
              </a:tblGrid>
              <a:tr h="0">
                <a:tc>
                  <a:txBody>
                    <a:bodyPr/>
                    <a:lstStyle/>
                    <a:p>
                      <a:r>
                        <a:rPr lang="en-US" dirty="0" smtClean="0"/>
                        <a:t>Outcome</a:t>
                      </a:r>
                      <a:endParaRPr lang="en-ZA" dirty="0"/>
                    </a:p>
                  </a:txBody>
                  <a:tcPr>
                    <a:solidFill>
                      <a:srgbClr val="548235"/>
                    </a:solidFill>
                  </a:tcPr>
                </a:tc>
                <a:tc>
                  <a:txBody>
                    <a:bodyPr/>
                    <a:lstStyle/>
                    <a:p>
                      <a:r>
                        <a:rPr lang="en-US" dirty="0" smtClean="0"/>
                        <a:t>Strategi</a:t>
                      </a:r>
                      <a:r>
                        <a:rPr lang="en-US" baseline="0" dirty="0" smtClean="0"/>
                        <a:t>c Risk</a:t>
                      </a:r>
                      <a:endParaRPr lang="en-ZA" dirty="0"/>
                    </a:p>
                  </a:txBody>
                  <a:tcPr>
                    <a:solidFill>
                      <a:srgbClr val="548235"/>
                    </a:solidFill>
                  </a:tcPr>
                </a:tc>
                <a:tc>
                  <a:txBody>
                    <a:bodyPr/>
                    <a:lstStyle/>
                    <a:p>
                      <a:r>
                        <a:rPr lang="en-US" dirty="0" smtClean="0"/>
                        <a:t>Risk Mitigation</a:t>
                      </a:r>
                      <a:endParaRPr lang="en-ZA" dirty="0"/>
                    </a:p>
                  </a:txBody>
                  <a:tcPr>
                    <a:solidFill>
                      <a:srgbClr val="548235"/>
                    </a:solidFill>
                  </a:tcPr>
                </a:tc>
              </a:tr>
              <a:tr h="0">
                <a:tc>
                  <a:txBody>
                    <a:bodyPr/>
                    <a:lstStyle/>
                    <a:p>
                      <a:endParaRPr lang="en-ZA" sz="100" dirty="0"/>
                    </a:p>
                  </a:txBody>
                  <a:tcPr>
                    <a:noFill/>
                  </a:tcPr>
                </a:tc>
                <a:tc>
                  <a:txBody>
                    <a:bodyPr/>
                    <a:lstStyle/>
                    <a:p>
                      <a:endParaRPr lang="en-ZA" sz="100" dirty="0"/>
                    </a:p>
                  </a:txBody>
                  <a:tcPr>
                    <a:noFill/>
                  </a:tcPr>
                </a:tc>
                <a:tc>
                  <a:txBody>
                    <a:bodyPr/>
                    <a:lstStyle/>
                    <a:p>
                      <a:endParaRPr lang="en-ZA" sz="100" dirty="0"/>
                    </a:p>
                  </a:txBody>
                  <a:tcPr>
                    <a:noFill/>
                  </a:tcPr>
                </a:tc>
              </a:tr>
              <a:tr h="0">
                <a:tc>
                  <a:txBody>
                    <a:bodyPr/>
                    <a:lstStyle/>
                    <a:p>
                      <a:endParaRPr lang="en-US" dirty="0" smtClean="0">
                        <a:solidFill>
                          <a:schemeClr val="bg1"/>
                        </a:solidFill>
                      </a:endParaRPr>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dirty="0"/>
                    </a:p>
                  </a:txBody>
                  <a:tcPr>
                    <a:solidFill>
                      <a:srgbClr val="548235"/>
                    </a:solidFill>
                  </a:tcPr>
                </a:tc>
                <a:tc>
                  <a:txBody>
                    <a:bodyPr/>
                    <a:lstStyle/>
                    <a:p>
                      <a:endParaRPr lang="en-ZA" sz="1800" kern="1200" dirty="0">
                        <a:solidFill>
                          <a:schemeClr val="bg1"/>
                        </a:solidFill>
                        <a:latin typeface="+mn-lt"/>
                        <a:ea typeface="+mn-ea"/>
                        <a:cs typeface="+mn-cs"/>
                      </a:endParaRPr>
                    </a:p>
                  </a:txBody>
                  <a:tcPr>
                    <a:solidFill>
                      <a:srgbClr val="548235"/>
                    </a:solidFill>
                  </a:tcPr>
                </a:tc>
              </a:tr>
              <a:tr h="0">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c>
                  <a:txBody>
                    <a:bodyPr/>
                    <a:lstStyle/>
                    <a:p>
                      <a:pPr marL="0" algn="l" defTabSz="914400" rtl="0" eaLnBrk="1" latinLnBrk="0" hangingPunct="1"/>
                      <a:endParaRPr lang="en-ZA" sz="100" kern="1200" dirty="0">
                        <a:solidFill>
                          <a:schemeClr val="dk1"/>
                        </a:solidFill>
                        <a:latin typeface="+mn-lt"/>
                        <a:ea typeface="+mn-ea"/>
                        <a:cs typeface="+mn-cs"/>
                      </a:endParaRPr>
                    </a:p>
                  </a:txBody>
                  <a:tcPr>
                    <a:noFill/>
                  </a:tcPr>
                </a:tc>
              </a:tr>
              <a:tr h="0">
                <a:tc>
                  <a:txBody>
                    <a:bodyPr/>
                    <a:lstStyle/>
                    <a:p>
                      <a:endParaRPr lang="en-ZA" dirty="0"/>
                    </a:p>
                  </a:txBody>
                  <a:tcPr>
                    <a:solidFill>
                      <a:srgbClr val="548235"/>
                    </a:solidFill>
                  </a:tcPr>
                </a:tc>
                <a:tc>
                  <a:txBody>
                    <a:bodyPr/>
                    <a:lstStyle/>
                    <a:p>
                      <a:endParaRPr lang="en-ZA" sz="1800" kern="1200" dirty="0">
                        <a:solidFill>
                          <a:schemeClr val="dk1"/>
                        </a:solidFill>
                        <a:latin typeface="+mn-lt"/>
                        <a:ea typeface="+mn-ea"/>
                        <a:cs typeface="+mn-cs"/>
                      </a:endParaRPr>
                    </a:p>
                  </a:txBody>
                  <a:tcPr>
                    <a:solidFill>
                      <a:srgbClr val="548235"/>
                    </a:solidFill>
                  </a:tcPr>
                </a:tc>
                <a:tc>
                  <a:txBody>
                    <a:bodyPr/>
                    <a:lstStyle/>
                    <a:p>
                      <a:pPr marL="0" algn="l" defTabSz="914400" rtl="0" eaLnBrk="1" latinLnBrk="0" hangingPunct="1"/>
                      <a:endParaRPr lang="en-ZA" sz="1800" kern="1200" dirty="0">
                        <a:solidFill>
                          <a:schemeClr val="bg1"/>
                        </a:solidFill>
                        <a:latin typeface="+mn-lt"/>
                        <a:ea typeface="+mn-ea"/>
                        <a:cs typeface="+mn-cs"/>
                      </a:endParaRPr>
                    </a:p>
                  </a:txBody>
                  <a:tcPr>
                    <a:solidFill>
                      <a:srgbClr val="548235"/>
                    </a:solidFill>
                  </a:tcPr>
                </a:tc>
              </a:tr>
              <a:tr h="0">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c>
                  <a:txBody>
                    <a:bodyPr/>
                    <a:lstStyle/>
                    <a:p>
                      <a:endParaRPr lang="en-ZA" sz="100" kern="1200" dirty="0">
                        <a:solidFill>
                          <a:schemeClr val="dk1"/>
                        </a:solidFill>
                        <a:latin typeface="+mn-lt"/>
                        <a:ea typeface="+mn-ea"/>
                        <a:cs typeface="+mn-cs"/>
                      </a:endParaRPr>
                    </a:p>
                  </a:txBody>
                  <a:tcPr>
                    <a:solidFill>
                      <a:schemeClr val="bg1"/>
                    </a:solidFill>
                  </a:tcPr>
                </a:tc>
              </a:tr>
              <a:tr h="309604">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c>
                  <a:txBody>
                    <a:bodyPr/>
                    <a:lstStyle/>
                    <a:p>
                      <a:endParaRPr lang="en-ZA" sz="100" kern="1200" dirty="0">
                        <a:solidFill>
                          <a:schemeClr val="dk1"/>
                        </a:solidFill>
                        <a:latin typeface="+mn-lt"/>
                        <a:ea typeface="+mn-ea"/>
                        <a:cs typeface="+mn-cs"/>
                      </a:endParaRPr>
                    </a:p>
                  </a:txBody>
                  <a:tcPr>
                    <a:solidFill>
                      <a:srgbClr val="548235"/>
                    </a:solidFill>
                  </a:tcPr>
                </a:tc>
              </a:tr>
            </a:tbl>
          </a:graphicData>
        </a:graphic>
      </p:graphicFrame>
    </p:spTree>
    <p:extLst>
      <p:ext uri="{BB962C8B-B14F-4D97-AF65-F5344CB8AC3E}">
        <p14:creationId xmlns:p14="http://schemas.microsoft.com/office/powerpoint/2010/main" val="160959062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US" sz="2800" b="1" dirty="0">
                <a:solidFill>
                  <a:srgbClr val="000000"/>
                </a:solidFill>
                <a:latin typeface="Georgia"/>
                <a:sym typeface="Calibri"/>
              </a:rPr>
              <a:t>Critical success factors and management of dependencies</a:t>
            </a:r>
            <a:endParaRPr sz="2800" b="1" dirty="0">
              <a:solidFill>
                <a:srgbClr val="000000"/>
              </a:solidFill>
              <a:latin typeface="Georgia"/>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845810" y="784904"/>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
        <p:nvSpPr>
          <p:cNvPr id="8" name="TextBox 7"/>
          <p:cNvSpPr txBox="1"/>
          <p:nvPr/>
        </p:nvSpPr>
        <p:spPr>
          <a:xfrm>
            <a:off x="616449" y="1458930"/>
            <a:ext cx="11188558" cy="1938992"/>
          </a:xfrm>
          <a:prstGeom prst="rect">
            <a:avLst/>
          </a:prstGeom>
          <a:noFill/>
        </p:spPr>
        <p:txBody>
          <a:bodyPr wrap="square" rtlCol="0">
            <a:spAutoFit/>
          </a:bodyPr>
          <a:lstStyle/>
          <a:p>
            <a:pPr marL="285750" indent="-285750">
              <a:spcBef>
                <a:spcPts val="600"/>
              </a:spcBef>
              <a:spcAft>
                <a:spcPts val="600"/>
              </a:spcAft>
              <a:buFont typeface="Arial" panose="020B0604020202020204" pitchFamily="34" charset="0"/>
              <a:buChar char="•"/>
            </a:pPr>
            <a:r>
              <a:rPr lang="en-US" sz="2000" dirty="0">
                <a:latin typeface="+mj-lt"/>
              </a:rPr>
              <a:t>Fully automated systems with regard to the journey of an offender from the entry into the </a:t>
            </a:r>
            <a:r>
              <a:rPr lang="en-US" sz="2000" dirty="0" smtClean="0">
                <a:latin typeface="+mj-lt"/>
              </a:rPr>
              <a:t>Department’s care. </a:t>
            </a:r>
            <a:endParaRPr lang="en-US" sz="2000" dirty="0">
              <a:latin typeface="+mj-lt"/>
            </a:endParaRPr>
          </a:p>
          <a:p>
            <a:pPr marL="285750" indent="-285750">
              <a:spcBef>
                <a:spcPts val="600"/>
              </a:spcBef>
              <a:spcAft>
                <a:spcPts val="600"/>
              </a:spcAft>
              <a:buFont typeface="Arial" panose="020B0604020202020204" pitchFamily="34" charset="0"/>
              <a:buChar char="•"/>
            </a:pPr>
            <a:r>
              <a:rPr lang="en-US" sz="2000" dirty="0">
                <a:latin typeface="+mj-lt"/>
              </a:rPr>
              <a:t>Agreement with inter-related departments on information </a:t>
            </a:r>
            <a:r>
              <a:rPr lang="en-US" sz="2000" dirty="0" smtClean="0">
                <a:latin typeface="+mj-lt"/>
              </a:rPr>
              <a:t>sharing</a:t>
            </a:r>
            <a:endParaRPr lang="en-US" sz="2000" dirty="0">
              <a:latin typeface="+mj-lt"/>
            </a:endParaRPr>
          </a:p>
          <a:p>
            <a:pPr marL="285750" indent="-285750">
              <a:spcBef>
                <a:spcPts val="600"/>
              </a:spcBef>
              <a:spcAft>
                <a:spcPts val="600"/>
              </a:spcAft>
              <a:buFont typeface="Arial" panose="020B0604020202020204" pitchFamily="34" charset="0"/>
              <a:buChar char="•"/>
            </a:pPr>
            <a:r>
              <a:rPr lang="en-US" sz="2000" dirty="0">
                <a:latin typeface="+mj-lt"/>
              </a:rPr>
              <a:t>Access to mobile communication devices, laptops, phones and the necessary security identification to expedite services</a:t>
            </a:r>
          </a:p>
        </p:txBody>
      </p:sp>
    </p:spTree>
    <p:extLst>
      <p:ext uri="{BB962C8B-B14F-4D97-AF65-F5344CB8AC3E}">
        <p14:creationId xmlns:p14="http://schemas.microsoft.com/office/powerpoint/2010/main" val="37111880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3" name="Google Shape;103;p10"/>
          <p:cNvSpPr txBox="1">
            <a:spLocks noGrp="1"/>
          </p:cNvSpPr>
          <p:nvPr>
            <p:ph type="title" idx="4294967295"/>
          </p:nvPr>
        </p:nvSpPr>
        <p:spPr>
          <a:xfrm>
            <a:off x="744986" y="138444"/>
            <a:ext cx="10573735" cy="536575"/>
          </a:xfrm>
          <a:prstGeom prst="rect">
            <a:avLst/>
          </a:prstGeom>
          <a:noFill/>
          <a:ln>
            <a:noFill/>
          </a:ln>
        </p:spPr>
        <p:txBody>
          <a:bodyPr spcFirstLastPara="1" vert="horz" wrap="square" lIns="0" tIns="0" rIns="0" bIns="0" rtlCol="0" anchor="t" anchorCtr="0">
            <a:noAutofit/>
          </a:bodyPr>
          <a:lstStyle/>
          <a:p>
            <a:pPr>
              <a:spcBef>
                <a:spcPts val="0"/>
              </a:spcBef>
              <a:buClr>
                <a:srgbClr val="000000"/>
              </a:buClr>
              <a:buSzPts val="3600"/>
            </a:pPr>
            <a:r>
              <a:rPr lang="en-ZA" sz="3600" b="1" dirty="0">
                <a:solidFill>
                  <a:srgbClr val="000000"/>
                </a:solidFill>
                <a:latin typeface="Georgia"/>
                <a:sym typeface="Calibri"/>
              </a:rPr>
              <a:t>Conclusion</a:t>
            </a:r>
            <a:endParaRPr sz="2800" b="1" dirty="0">
              <a:solidFill>
                <a:srgbClr val="000000"/>
              </a:solidFill>
              <a:latin typeface="Georgia"/>
            </a:endParaRPr>
          </a:p>
        </p:txBody>
      </p:sp>
      <p:sp>
        <p:nvSpPr>
          <p:cNvPr id="6" name="TextBox 5">
            <a:extLst>
              <a:ext uri="{FF2B5EF4-FFF2-40B4-BE49-F238E27FC236}">
                <a16:creationId xmlns="" xmlns:a16="http://schemas.microsoft.com/office/drawing/2014/main" id="{3D1D2E24-36FA-6149-B377-163EFDF93ABC}"/>
              </a:ext>
            </a:extLst>
          </p:cNvPr>
          <p:cNvSpPr txBox="1"/>
          <p:nvPr/>
        </p:nvSpPr>
        <p:spPr>
          <a:xfrm>
            <a:off x="969100" y="796567"/>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Tree>
    <p:extLst>
      <p:ext uri="{BB962C8B-B14F-4D97-AF65-F5344CB8AC3E}">
        <p14:creationId xmlns:p14="http://schemas.microsoft.com/office/powerpoint/2010/main" val="32108761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12192000" cy="6858000"/>
          </a:xfrm>
          <a:prstGeom prst="rect">
            <a:avLst/>
          </a:prstGeom>
          <a:blipFill>
            <a:blip r:embed="rId5"/>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3" name="Object 2" hidden="1">
            <a:extLst>
              <a:ext uri="{FF2B5EF4-FFF2-40B4-BE49-F238E27FC236}">
                <a16:creationId xmlns="" xmlns:a16="http://schemas.microsoft.com/office/drawing/2014/main" id="{16BE7A20-2016-4CBC-A7BA-00C94BDE16F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9" name="think-cell Slide" r:id="rId6" imgW="383" imgH="384" progId="TCLayout.ActiveDocument.1">
                  <p:embed/>
                </p:oleObj>
              </mc:Choice>
              <mc:Fallback>
                <p:oleObj name="think-cell Slide" r:id="rId6" imgW="383"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 xmlns:a16="http://schemas.microsoft.com/office/drawing/2014/main" id="{385CF3E6-7028-42D7-81C4-BAB7298EC5C2}"/>
              </a:ext>
            </a:extLst>
          </p:cNvPr>
          <p:cNvSpPr/>
          <p:nvPr/>
        </p:nvSpPr>
        <p:spPr>
          <a:xfrm>
            <a:off x="876300" y="0"/>
            <a:ext cx="4639726" cy="6248400"/>
          </a:xfrm>
          <a:prstGeom prst="rect">
            <a:avLst/>
          </a:prstGeom>
          <a:solidFill>
            <a:srgbClr val="548235">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7" name="Title 1">
            <a:extLst>
              <a:ext uri="{FF2B5EF4-FFF2-40B4-BE49-F238E27FC236}">
                <a16:creationId xmlns="" xmlns:a16="http://schemas.microsoft.com/office/drawing/2014/main" id="{B49F274D-0838-40BC-88AF-02BBD88706CA}"/>
              </a:ext>
            </a:extLst>
          </p:cNvPr>
          <p:cNvSpPr txBox="1">
            <a:spLocks/>
          </p:cNvSpPr>
          <p:nvPr/>
        </p:nvSpPr>
        <p:spPr>
          <a:xfrm>
            <a:off x="1278378" y="2057914"/>
            <a:ext cx="3545284" cy="1661993"/>
          </a:xfrm>
          <a:prstGeom prst="rect">
            <a:avLst/>
          </a:prstGeom>
        </p:spPr>
        <p:txBody>
          <a:bodyPr wrap="square" lIns="0" tIns="0" rIns="0" bIns="0">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lnSpc>
                <a:spcPct val="100000"/>
              </a:lnSpc>
            </a:pPr>
            <a:r>
              <a:rPr lang="en-US" sz="5400" dirty="0">
                <a:solidFill>
                  <a:srgbClr val="FFFFFF"/>
                </a:solidFill>
                <a:latin typeface="Georgia"/>
              </a:rPr>
              <a:t>THANK</a:t>
            </a:r>
          </a:p>
          <a:p>
            <a:pPr>
              <a:lnSpc>
                <a:spcPct val="100000"/>
              </a:lnSpc>
            </a:pPr>
            <a:r>
              <a:rPr lang="en-US" sz="5400" dirty="0">
                <a:solidFill>
                  <a:srgbClr val="FFFFFF"/>
                </a:solidFill>
                <a:latin typeface="Georgia"/>
              </a:rPr>
              <a:t>YOU</a:t>
            </a:r>
            <a:endParaRPr lang="en-ID" sz="5400" dirty="0">
              <a:solidFill>
                <a:srgbClr val="FFFFFF"/>
              </a:solidFill>
              <a:latin typeface="Georgia"/>
            </a:endParaRPr>
          </a:p>
        </p:txBody>
      </p:sp>
      <p:cxnSp>
        <p:nvCxnSpPr>
          <p:cNvPr id="8" name="Straight Connector 7">
            <a:extLst>
              <a:ext uri="{FF2B5EF4-FFF2-40B4-BE49-F238E27FC236}">
                <a16:creationId xmlns="" xmlns:a16="http://schemas.microsoft.com/office/drawing/2014/main" id="{E5B0294F-CD76-4A30-A547-51FDC2BF4F55}"/>
              </a:ext>
            </a:extLst>
          </p:cNvPr>
          <p:cNvCxnSpPr>
            <a:cxnSpLocks/>
          </p:cNvCxnSpPr>
          <p:nvPr/>
        </p:nvCxnSpPr>
        <p:spPr>
          <a:xfrm flipH="1">
            <a:off x="1905000" y="4055697"/>
            <a:ext cx="358744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 xmlns:a16="http://schemas.microsoft.com/office/drawing/2014/main" id="{4C7A415C-7BB2-4638-83F1-47FE931C4138}"/>
              </a:ext>
            </a:extLst>
          </p:cNvPr>
          <p:cNvCxnSpPr>
            <a:cxnSpLocks/>
          </p:cNvCxnSpPr>
          <p:nvPr/>
        </p:nvCxnSpPr>
        <p:spPr>
          <a:xfrm flipH="1">
            <a:off x="1278378" y="4055697"/>
            <a:ext cx="430154" cy="0"/>
          </a:xfrm>
          <a:prstGeom prst="line">
            <a:avLst/>
          </a:prstGeom>
          <a:ln w="444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03293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 name="Rectangle 8">
            <a:extLst>
              <a:ext uri="{FF2B5EF4-FFF2-40B4-BE49-F238E27FC236}">
                <a16:creationId xmlns="" xmlns:a16="http://schemas.microsoft.com/office/drawing/2014/main" id="{6D0D4A4D-E24D-2F41-9FA6-C98D876AAF6D}"/>
              </a:ext>
            </a:extLst>
          </p:cNvPr>
          <p:cNvSpPr/>
          <p:nvPr/>
        </p:nvSpPr>
        <p:spPr>
          <a:xfrm>
            <a:off x="246530" y="1"/>
            <a:ext cx="1119554" cy="5651970"/>
          </a:xfrm>
          <a:prstGeom prst="rect">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0" name="Rectangle 9">
            <a:extLst>
              <a:ext uri="{FF2B5EF4-FFF2-40B4-BE49-F238E27FC236}">
                <a16:creationId xmlns="" xmlns:a16="http://schemas.microsoft.com/office/drawing/2014/main" id="{6B12DE1F-585B-2140-B2BD-40C67FF0C1F0}"/>
              </a:ext>
            </a:extLst>
          </p:cNvPr>
          <p:cNvSpPr/>
          <p:nvPr/>
        </p:nvSpPr>
        <p:spPr>
          <a:xfrm>
            <a:off x="1366084" y="0"/>
            <a:ext cx="2584934" cy="6858000"/>
          </a:xfrm>
          <a:prstGeom prst="rect">
            <a:avLst/>
          </a:prstGeom>
          <a:solidFill>
            <a:srgbClr val="54823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ectangle 10">
            <a:extLst>
              <a:ext uri="{FF2B5EF4-FFF2-40B4-BE49-F238E27FC236}">
                <a16:creationId xmlns="" xmlns:a16="http://schemas.microsoft.com/office/drawing/2014/main" id="{232FC7D8-2C69-3447-8C60-C8D12747CDF8}"/>
              </a:ext>
            </a:extLst>
          </p:cNvPr>
          <p:cNvSpPr/>
          <p:nvPr/>
        </p:nvSpPr>
        <p:spPr>
          <a:xfrm>
            <a:off x="246530" y="5651970"/>
            <a:ext cx="1119554" cy="1217293"/>
          </a:xfrm>
          <a:prstGeom prst="rect">
            <a:avLst/>
          </a:prstGeom>
          <a:solidFill>
            <a:srgbClr val="C7A96E">
              <a:lumMod val="60000"/>
              <a:lumOff val="4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30" name="Title 1">
            <a:extLst>
              <a:ext uri="{FF2B5EF4-FFF2-40B4-BE49-F238E27FC236}">
                <a16:creationId xmlns="" xmlns:a16="http://schemas.microsoft.com/office/drawing/2014/main" id="{F5A4D105-B434-874D-A09A-E945722F8660}"/>
              </a:ext>
            </a:extLst>
          </p:cNvPr>
          <p:cNvSpPr txBox="1">
            <a:spLocks/>
          </p:cNvSpPr>
          <p:nvPr/>
        </p:nvSpPr>
        <p:spPr>
          <a:xfrm rot="16200000">
            <a:off x="-863548" y="1392708"/>
            <a:ext cx="3402872" cy="8863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1" i="1" u="none" strike="noStrike" kern="1200" cap="none" spc="0" normalizeH="0" baseline="0" noProof="0" dirty="0" smtClean="0">
                <a:ln>
                  <a:noFill/>
                </a:ln>
                <a:solidFill>
                  <a:srgbClr val="FFFFFF"/>
                </a:solidFill>
                <a:effectLst/>
                <a:uLnTx/>
                <a:uFillTx/>
                <a:latin typeface="Georgia"/>
              </a:rPr>
              <a:t>Presentation outline</a:t>
            </a:r>
            <a:endParaRPr kumimoji="0" lang="en-US" sz="3200" b="1" i="1" u="none" strike="noStrike" kern="1200" cap="none" spc="0" normalizeH="0" baseline="0" noProof="0" dirty="0">
              <a:ln>
                <a:noFill/>
              </a:ln>
              <a:solidFill>
                <a:srgbClr val="FFFFFF"/>
              </a:solidFill>
              <a:effectLst/>
              <a:uLnTx/>
              <a:uFillTx/>
              <a:latin typeface="Georgia"/>
            </a:endParaRPr>
          </a:p>
        </p:txBody>
      </p:sp>
      <p:cxnSp>
        <p:nvCxnSpPr>
          <p:cNvPr id="31" name="Straight Connector 30">
            <a:extLst>
              <a:ext uri="{FF2B5EF4-FFF2-40B4-BE49-F238E27FC236}">
                <a16:creationId xmlns="" xmlns:a16="http://schemas.microsoft.com/office/drawing/2014/main" id="{ADE5B180-9DA6-5E46-AEB8-F210FCF9F0EA}"/>
              </a:ext>
            </a:extLst>
          </p:cNvPr>
          <p:cNvCxnSpPr/>
          <p:nvPr/>
        </p:nvCxnSpPr>
        <p:spPr>
          <a:xfrm>
            <a:off x="780592" y="3537341"/>
            <a:ext cx="0" cy="2002874"/>
          </a:xfrm>
          <a:prstGeom prst="line">
            <a:avLst/>
          </a:prstGeom>
          <a:noFill/>
          <a:ln w="6350" cap="flat" cmpd="sng" algn="ctr">
            <a:solidFill>
              <a:srgbClr val="FFFFFF"/>
            </a:solidFill>
            <a:prstDash val="solid"/>
            <a:miter lim="800000"/>
          </a:ln>
          <a:effectLst/>
        </p:spPr>
      </p:cxnSp>
      <p:grpSp>
        <p:nvGrpSpPr>
          <p:cNvPr id="32" name="Group 31">
            <a:extLst>
              <a:ext uri="{FF2B5EF4-FFF2-40B4-BE49-F238E27FC236}">
                <a16:creationId xmlns="" xmlns:a16="http://schemas.microsoft.com/office/drawing/2014/main" id="{3754301D-7909-4E47-A8FF-76DB3A7026AC}"/>
              </a:ext>
            </a:extLst>
          </p:cNvPr>
          <p:cNvGrpSpPr/>
          <p:nvPr/>
        </p:nvGrpSpPr>
        <p:grpSpPr>
          <a:xfrm>
            <a:off x="534423" y="6109682"/>
            <a:ext cx="488832" cy="493336"/>
            <a:chOff x="2684463" y="3619500"/>
            <a:chExt cx="344487" cy="347663"/>
          </a:xfrm>
        </p:grpSpPr>
        <p:sp>
          <p:nvSpPr>
            <p:cNvPr id="33" name="Rectangle 32">
              <a:extLst>
                <a:ext uri="{FF2B5EF4-FFF2-40B4-BE49-F238E27FC236}">
                  <a16:creationId xmlns="" xmlns:a16="http://schemas.microsoft.com/office/drawing/2014/main" id="{B2D94E15-2FA1-FF47-BF7E-D9BE50FE3481}"/>
                </a:ext>
              </a:extLst>
            </p:cNvPr>
            <p:cNvSpPr>
              <a:spLocks noChangeArrowheads="1"/>
            </p:cNvSpPr>
            <p:nvPr/>
          </p:nvSpPr>
          <p:spPr bwMode="auto">
            <a:xfrm>
              <a:off x="2728913" y="3709988"/>
              <a:ext cx="180975" cy="257175"/>
            </a:xfrm>
            <a:prstGeom prst="rect">
              <a:avLst/>
            </a:pr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4" name="Freeform 33">
              <a:extLst>
                <a:ext uri="{FF2B5EF4-FFF2-40B4-BE49-F238E27FC236}">
                  <a16:creationId xmlns="" xmlns:a16="http://schemas.microsoft.com/office/drawing/2014/main" id="{21276784-E644-DE42-9D60-B45B2C1ECAF1}"/>
                </a:ext>
              </a:extLst>
            </p:cNvPr>
            <p:cNvSpPr>
              <a:spLocks/>
            </p:cNvSpPr>
            <p:nvPr/>
          </p:nvSpPr>
          <p:spPr bwMode="auto">
            <a:xfrm>
              <a:off x="2684463" y="3619500"/>
              <a:ext cx="90488" cy="241300"/>
            </a:xfrm>
            <a:custGeom>
              <a:avLst/>
              <a:gdLst>
                <a:gd name="T0" fmla="*/ 12 w 24"/>
                <a:gd name="T1" fmla="*/ 64 h 64"/>
                <a:gd name="T2" fmla="*/ 0 w 24"/>
                <a:gd name="T3" fmla="*/ 64 h 64"/>
                <a:gd name="T4" fmla="*/ 0 w 24"/>
                <a:gd name="T5" fmla="*/ 12 h 64"/>
                <a:gd name="T6" fmla="*/ 12 w 24"/>
                <a:gd name="T7" fmla="*/ 0 h 64"/>
                <a:gd name="T8" fmla="*/ 24 w 24"/>
                <a:gd name="T9" fmla="*/ 12 h 64"/>
                <a:gd name="T10" fmla="*/ 12 w 24"/>
                <a:gd name="T11" fmla="*/ 24 h 64"/>
                <a:gd name="T12" fmla="*/ 12 w 24"/>
                <a:gd name="T13" fmla="*/ 16 h 64"/>
                <a:gd name="T14" fmla="*/ 23 w 24"/>
                <a:gd name="T15" fmla="*/ 16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12" y="64"/>
                  </a:moveTo>
                  <a:cubicBezTo>
                    <a:pt x="0" y="64"/>
                    <a:pt x="0" y="64"/>
                    <a:pt x="0" y="64"/>
                  </a:cubicBezTo>
                  <a:cubicBezTo>
                    <a:pt x="0" y="12"/>
                    <a:pt x="0" y="12"/>
                    <a:pt x="0" y="12"/>
                  </a:cubicBezTo>
                  <a:cubicBezTo>
                    <a:pt x="0" y="5"/>
                    <a:pt x="5" y="0"/>
                    <a:pt x="12" y="0"/>
                  </a:cubicBezTo>
                  <a:cubicBezTo>
                    <a:pt x="19" y="0"/>
                    <a:pt x="24" y="5"/>
                    <a:pt x="24" y="12"/>
                  </a:cubicBezTo>
                  <a:cubicBezTo>
                    <a:pt x="24" y="19"/>
                    <a:pt x="19" y="24"/>
                    <a:pt x="12" y="24"/>
                  </a:cubicBezTo>
                  <a:cubicBezTo>
                    <a:pt x="12" y="16"/>
                    <a:pt x="12" y="16"/>
                    <a:pt x="12" y="16"/>
                  </a:cubicBezTo>
                  <a:cubicBezTo>
                    <a:pt x="23" y="16"/>
                    <a:pt x="23" y="16"/>
                    <a:pt x="23" y="16"/>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5" name="Freeform 34">
              <a:extLst>
                <a:ext uri="{FF2B5EF4-FFF2-40B4-BE49-F238E27FC236}">
                  <a16:creationId xmlns="" xmlns:a16="http://schemas.microsoft.com/office/drawing/2014/main" id="{5CE7BAA0-5111-E049-A8FC-3DA51D4A76EA}"/>
                </a:ext>
              </a:extLst>
            </p:cNvPr>
            <p:cNvSpPr>
              <a:spLocks/>
            </p:cNvSpPr>
            <p:nvPr/>
          </p:nvSpPr>
          <p:spPr bwMode="auto">
            <a:xfrm>
              <a:off x="2728913" y="3619500"/>
              <a:ext cx="225425" cy="90488"/>
            </a:xfrm>
            <a:custGeom>
              <a:avLst/>
              <a:gdLst>
                <a:gd name="T0" fmla="*/ 48 w 60"/>
                <a:gd name="T1" fmla="*/ 24 h 24"/>
                <a:gd name="T2" fmla="*/ 60 w 60"/>
                <a:gd name="T3" fmla="*/ 12 h 24"/>
                <a:gd name="T4" fmla="*/ 48 w 60"/>
                <a:gd name="T5" fmla="*/ 0 h 24"/>
                <a:gd name="T6" fmla="*/ 0 w 60"/>
                <a:gd name="T7" fmla="*/ 0 h 24"/>
              </a:gdLst>
              <a:ahLst/>
              <a:cxnLst>
                <a:cxn ang="0">
                  <a:pos x="T0" y="T1"/>
                </a:cxn>
                <a:cxn ang="0">
                  <a:pos x="T2" y="T3"/>
                </a:cxn>
                <a:cxn ang="0">
                  <a:pos x="T4" y="T5"/>
                </a:cxn>
                <a:cxn ang="0">
                  <a:pos x="T6" y="T7"/>
                </a:cxn>
              </a:cxnLst>
              <a:rect l="0" t="0" r="r" b="b"/>
              <a:pathLst>
                <a:path w="60" h="24">
                  <a:moveTo>
                    <a:pt x="48" y="24"/>
                  </a:moveTo>
                  <a:cubicBezTo>
                    <a:pt x="55" y="24"/>
                    <a:pt x="60" y="19"/>
                    <a:pt x="60" y="12"/>
                  </a:cubicBezTo>
                  <a:cubicBezTo>
                    <a:pt x="60" y="5"/>
                    <a:pt x="55" y="0"/>
                    <a:pt x="48" y="0"/>
                  </a:cubicBezTo>
                  <a:cubicBezTo>
                    <a:pt x="0" y="0"/>
                    <a:pt x="0" y="0"/>
                    <a:pt x="0"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6" name="Line 8">
              <a:extLst>
                <a:ext uri="{FF2B5EF4-FFF2-40B4-BE49-F238E27FC236}">
                  <a16:creationId xmlns="" xmlns:a16="http://schemas.microsoft.com/office/drawing/2014/main" id="{89F9E849-A05B-F24B-852B-5A761D029431}"/>
                </a:ext>
              </a:extLst>
            </p:cNvPr>
            <p:cNvSpPr>
              <a:spLocks noChangeShapeType="1"/>
            </p:cNvSpPr>
            <p:nvPr/>
          </p:nvSpPr>
          <p:spPr bwMode="auto">
            <a:xfrm>
              <a:off x="2819400" y="3770313"/>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7" name="Line 9">
              <a:extLst>
                <a:ext uri="{FF2B5EF4-FFF2-40B4-BE49-F238E27FC236}">
                  <a16:creationId xmlns="" xmlns:a16="http://schemas.microsoft.com/office/drawing/2014/main" id="{DC79CA80-B487-554E-B037-F222E432C593}"/>
                </a:ext>
              </a:extLst>
            </p:cNvPr>
            <p:cNvSpPr>
              <a:spLocks noChangeShapeType="1"/>
            </p:cNvSpPr>
            <p:nvPr/>
          </p:nvSpPr>
          <p:spPr bwMode="auto">
            <a:xfrm>
              <a:off x="2819400" y="3830638"/>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8" name="Line 10">
              <a:extLst>
                <a:ext uri="{FF2B5EF4-FFF2-40B4-BE49-F238E27FC236}">
                  <a16:creationId xmlns="" xmlns:a16="http://schemas.microsoft.com/office/drawing/2014/main" id="{51D013D5-59E6-FA4E-A68D-173782DA1217}"/>
                </a:ext>
              </a:extLst>
            </p:cNvPr>
            <p:cNvSpPr>
              <a:spLocks noChangeShapeType="1"/>
            </p:cNvSpPr>
            <p:nvPr/>
          </p:nvSpPr>
          <p:spPr bwMode="auto">
            <a:xfrm>
              <a:off x="2819400" y="3892550"/>
              <a:ext cx="60325"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39" name="Freeform 38">
              <a:extLst>
                <a:ext uri="{FF2B5EF4-FFF2-40B4-BE49-F238E27FC236}">
                  <a16:creationId xmlns="" xmlns:a16="http://schemas.microsoft.com/office/drawing/2014/main" id="{A078636B-6B87-AF47-8C90-C4128E8FD4E5}"/>
                </a:ext>
              </a:extLst>
            </p:cNvPr>
            <p:cNvSpPr>
              <a:spLocks/>
            </p:cNvSpPr>
            <p:nvPr/>
          </p:nvSpPr>
          <p:spPr bwMode="auto">
            <a:xfrm>
              <a:off x="2759075" y="3740150"/>
              <a:ext cx="38100" cy="30163"/>
            </a:xfrm>
            <a:custGeom>
              <a:avLst/>
              <a:gdLst>
                <a:gd name="T0" fmla="*/ 0 w 24"/>
                <a:gd name="T1" fmla="*/ 14 h 19"/>
                <a:gd name="T2" fmla="*/ 5 w 24"/>
                <a:gd name="T3" fmla="*/ 19 h 19"/>
                <a:gd name="T4" fmla="*/ 24 w 24"/>
                <a:gd name="T5" fmla="*/ 0 h 19"/>
              </a:gdLst>
              <a:ahLst/>
              <a:cxnLst>
                <a:cxn ang="0">
                  <a:pos x="T0" y="T1"/>
                </a:cxn>
                <a:cxn ang="0">
                  <a:pos x="T2" y="T3"/>
                </a:cxn>
                <a:cxn ang="0">
                  <a:pos x="T4" y="T5"/>
                </a:cxn>
              </a:cxnLst>
              <a:rect l="0" t="0" r="r" b="b"/>
              <a:pathLst>
                <a:path w="24" h="19">
                  <a:moveTo>
                    <a:pt x="0" y="14"/>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0" name="Freeform 39">
              <a:extLst>
                <a:ext uri="{FF2B5EF4-FFF2-40B4-BE49-F238E27FC236}">
                  <a16:creationId xmlns="" xmlns:a16="http://schemas.microsoft.com/office/drawing/2014/main" id="{7EA4DE0E-17A1-5545-8B6A-D0835797A3B0}"/>
                </a:ext>
              </a:extLst>
            </p:cNvPr>
            <p:cNvSpPr>
              <a:spLocks/>
            </p:cNvSpPr>
            <p:nvPr/>
          </p:nvSpPr>
          <p:spPr bwMode="auto">
            <a:xfrm>
              <a:off x="2759075" y="3800475"/>
              <a:ext cx="38100" cy="30163"/>
            </a:xfrm>
            <a:custGeom>
              <a:avLst/>
              <a:gdLst>
                <a:gd name="T0" fmla="*/ 0 w 24"/>
                <a:gd name="T1" fmla="*/ 15 h 19"/>
                <a:gd name="T2" fmla="*/ 5 w 24"/>
                <a:gd name="T3" fmla="*/ 19 h 19"/>
                <a:gd name="T4" fmla="*/ 24 w 24"/>
                <a:gd name="T5" fmla="*/ 0 h 19"/>
              </a:gdLst>
              <a:ahLst/>
              <a:cxnLst>
                <a:cxn ang="0">
                  <a:pos x="T0" y="T1"/>
                </a:cxn>
                <a:cxn ang="0">
                  <a:pos x="T2" y="T3"/>
                </a:cxn>
                <a:cxn ang="0">
                  <a:pos x="T4" y="T5"/>
                </a:cxn>
              </a:cxnLst>
              <a:rect l="0" t="0" r="r" b="b"/>
              <a:pathLst>
                <a:path w="24" h="19">
                  <a:moveTo>
                    <a:pt x="0" y="15"/>
                  </a:moveTo>
                  <a:lnTo>
                    <a:pt x="5" y="19"/>
                  </a:lnTo>
                  <a:lnTo>
                    <a:pt x="24" y="0"/>
                  </a:ln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1" name="Freeform 40">
              <a:extLst>
                <a:ext uri="{FF2B5EF4-FFF2-40B4-BE49-F238E27FC236}">
                  <a16:creationId xmlns="" xmlns:a16="http://schemas.microsoft.com/office/drawing/2014/main" id="{3F646A96-E533-1347-9880-1815BB593586}"/>
                </a:ext>
              </a:extLst>
            </p:cNvPr>
            <p:cNvSpPr>
              <a:spLocks/>
            </p:cNvSpPr>
            <p:nvPr/>
          </p:nvSpPr>
          <p:spPr bwMode="auto">
            <a:xfrm>
              <a:off x="2984500" y="3702050"/>
              <a:ext cx="44450" cy="265113"/>
            </a:xfrm>
            <a:custGeom>
              <a:avLst/>
              <a:gdLst>
                <a:gd name="T0" fmla="*/ 12 w 12"/>
                <a:gd name="T1" fmla="*/ 64 h 70"/>
                <a:gd name="T2" fmla="*/ 6 w 12"/>
                <a:gd name="T3" fmla="*/ 70 h 70"/>
                <a:gd name="T4" fmla="*/ 0 w 12"/>
                <a:gd name="T5" fmla="*/ 64 h 70"/>
                <a:gd name="T6" fmla="*/ 0 w 12"/>
                <a:gd name="T7" fmla="*/ 6 h 70"/>
                <a:gd name="T8" fmla="*/ 6 w 12"/>
                <a:gd name="T9" fmla="*/ 0 h 70"/>
                <a:gd name="T10" fmla="*/ 12 w 12"/>
                <a:gd name="T11" fmla="*/ 6 h 70"/>
                <a:gd name="T12" fmla="*/ 12 w 12"/>
                <a:gd name="T13" fmla="*/ 64 h 70"/>
              </a:gdLst>
              <a:ahLst/>
              <a:cxnLst>
                <a:cxn ang="0">
                  <a:pos x="T0" y="T1"/>
                </a:cxn>
                <a:cxn ang="0">
                  <a:pos x="T2" y="T3"/>
                </a:cxn>
                <a:cxn ang="0">
                  <a:pos x="T4" y="T5"/>
                </a:cxn>
                <a:cxn ang="0">
                  <a:pos x="T6" y="T7"/>
                </a:cxn>
                <a:cxn ang="0">
                  <a:pos x="T8" y="T9"/>
                </a:cxn>
                <a:cxn ang="0">
                  <a:pos x="T10" y="T11"/>
                </a:cxn>
                <a:cxn ang="0">
                  <a:pos x="T12" y="T13"/>
                </a:cxn>
              </a:cxnLst>
              <a:rect l="0" t="0" r="r" b="b"/>
              <a:pathLst>
                <a:path w="12" h="70">
                  <a:moveTo>
                    <a:pt x="12" y="64"/>
                  </a:moveTo>
                  <a:cubicBezTo>
                    <a:pt x="12" y="67"/>
                    <a:pt x="9" y="70"/>
                    <a:pt x="6" y="70"/>
                  </a:cubicBezTo>
                  <a:cubicBezTo>
                    <a:pt x="3" y="70"/>
                    <a:pt x="0" y="67"/>
                    <a:pt x="0" y="64"/>
                  </a:cubicBezTo>
                  <a:cubicBezTo>
                    <a:pt x="0" y="6"/>
                    <a:pt x="0" y="6"/>
                    <a:pt x="0" y="6"/>
                  </a:cubicBezTo>
                  <a:cubicBezTo>
                    <a:pt x="0" y="3"/>
                    <a:pt x="3" y="0"/>
                    <a:pt x="6" y="0"/>
                  </a:cubicBezTo>
                  <a:cubicBezTo>
                    <a:pt x="9" y="0"/>
                    <a:pt x="12" y="3"/>
                    <a:pt x="12" y="6"/>
                  </a:cubicBezTo>
                  <a:lnTo>
                    <a:pt x="12" y="64"/>
                  </a:lnTo>
                  <a:close/>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2" name="Line 14">
              <a:extLst>
                <a:ext uri="{FF2B5EF4-FFF2-40B4-BE49-F238E27FC236}">
                  <a16:creationId xmlns="" xmlns:a16="http://schemas.microsoft.com/office/drawing/2014/main" id="{3042381B-03B0-2340-BBD9-8B4BC5232F8A}"/>
                </a:ext>
              </a:extLst>
            </p:cNvPr>
            <p:cNvSpPr>
              <a:spLocks noChangeShapeType="1"/>
            </p:cNvSpPr>
            <p:nvPr/>
          </p:nvSpPr>
          <p:spPr bwMode="auto">
            <a:xfrm>
              <a:off x="2984500" y="3937000"/>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3" name="Line 15">
              <a:extLst>
                <a:ext uri="{FF2B5EF4-FFF2-40B4-BE49-F238E27FC236}">
                  <a16:creationId xmlns="" xmlns:a16="http://schemas.microsoft.com/office/drawing/2014/main" id="{8A0CD713-A0DF-FD46-9E43-C2241B0297E8}"/>
                </a:ext>
              </a:extLst>
            </p:cNvPr>
            <p:cNvSpPr>
              <a:spLocks noChangeShapeType="1"/>
            </p:cNvSpPr>
            <p:nvPr/>
          </p:nvSpPr>
          <p:spPr bwMode="auto">
            <a:xfrm>
              <a:off x="2984500" y="3830638"/>
              <a:ext cx="44450" cy="0"/>
            </a:xfrm>
            <a:prstGeom prst="line">
              <a:avLst/>
            </a:prstGeom>
            <a:noFill/>
            <a:ln w="158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sp>
          <p:nvSpPr>
            <p:cNvPr id="44" name="Freeform 43">
              <a:extLst>
                <a:ext uri="{FF2B5EF4-FFF2-40B4-BE49-F238E27FC236}">
                  <a16:creationId xmlns="" xmlns:a16="http://schemas.microsoft.com/office/drawing/2014/main" id="{BFEA82A5-A081-F346-9158-CF8B5EF97B61}"/>
                </a:ext>
              </a:extLst>
            </p:cNvPr>
            <p:cNvSpPr>
              <a:spLocks/>
            </p:cNvSpPr>
            <p:nvPr/>
          </p:nvSpPr>
          <p:spPr bwMode="auto">
            <a:xfrm>
              <a:off x="2954338" y="3717925"/>
              <a:ext cx="30163" cy="136525"/>
            </a:xfrm>
            <a:custGeom>
              <a:avLst/>
              <a:gdLst>
                <a:gd name="T0" fmla="*/ 0 w 8"/>
                <a:gd name="T1" fmla="*/ 36 h 36"/>
                <a:gd name="T2" fmla="*/ 0 w 8"/>
                <a:gd name="T3" fmla="*/ 6 h 36"/>
                <a:gd name="T4" fmla="*/ 6 w 8"/>
                <a:gd name="T5" fmla="*/ 0 h 36"/>
                <a:gd name="T6" fmla="*/ 8 w 8"/>
                <a:gd name="T7" fmla="*/ 0 h 36"/>
              </a:gdLst>
              <a:ahLst/>
              <a:cxnLst>
                <a:cxn ang="0">
                  <a:pos x="T0" y="T1"/>
                </a:cxn>
                <a:cxn ang="0">
                  <a:pos x="T2" y="T3"/>
                </a:cxn>
                <a:cxn ang="0">
                  <a:pos x="T4" y="T5"/>
                </a:cxn>
                <a:cxn ang="0">
                  <a:pos x="T6" y="T7"/>
                </a:cxn>
              </a:cxnLst>
              <a:rect l="0" t="0" r="r" b="b"/>
              <a:pathLst>
                <a:path w="8" h="36">
                  <a:moveTo>
                    <a:pt x="0" y="36"/>
                  </a:moveTo>
                  <a:cubicBezTo>
                    <a:pt x="0" y="6"/>
                    <a:pt x="0" y="6"/>
                    <a:pt x="0" y="6"/>
                  </a:cubicBezTo>
                  <a:cubicBezTo>
                    <a:pt x="0" y="3"/>
                    <a:pt x="3" y="0"/>
                    <a:pt x="6" y="0"/>
                  </a:cubicBezTo>
                  <a:cubicBezTo>
                    <a:pt x="8" y="0"/>
                    <a:pt x="8" y="0"/>
                    <a:pt x="8" y="0"/>
                  </a:cubicBezTo>
                </a:path>
              </a:pathLst>
            </a:custGeom>
            <a:noFill/>
            <a:ln w="15875"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d-ID" sz="1800" b="0" i="0" u="none" strike="noStrike" kern="0" cap="none" spc="0" normalizeH="0" baseline="0" noProof="0" smtClean="0">
                <a:ln>
                  <a:noFill/>
                </a:ln>
                <a:solidFill>
                  <a:srgbClr val="000000"/>
                </a:solidFill>
                <a:effectLst/>
                <a:uLnTx/>
                <a:uFillTx/>
                <a:latin typeface="Segoe UI Light"/>
              </a:endParaRPr>
            </a:p>
          </p:txBody>
        </p:sp>
      </p:grpSp>
      <p:graphicFrame>
        <p:nvGraphicFramePr>
          <p:cNvPr id="3" name="Table 2"/>
          <p:cNvGraphicFramePr>
            <a:graphicFrameLocks noGrp="1"/>
          </p:cNvGraphicFramePr>
          <p:nvPr>
            <p:extLst>
              <p:ext uri="{D42A27DB-BD31-4B8C-83A1-F6EECF244321}">
                <p14:modId xmlns:p14="http://schemas.microsoft.com/office/powerpoint/2010/main" val="603826028"/>
              </p:ext>
            </p:extLst>
          </p:nvPr>
        </p:nvGraphicFramePr>
        <p:xfrm>
          <a:off x="2209799" y="134470"/>
          <a:ext cx="7200901" cy="6554097"/>
        </p:xfrm>
        <a:graphic>
          <a:graphicData uri="http://schemas.openxmlformats.org/drawingml/2006/table">
            <a:tbl>
              <a:tblPr firstRow="1" bandRow="1">
                <a:tableStyleId>{5C22544A-7EE6-4342-B048-85BDC9FD1C3A}</a:tableStyleId>
              </a:tblPr>
              <a:tblGrid>
                <a:gridCol w="2040065"/>
                <a:gridCol w="5160836"/>
              </a:tblGrid>
              <a:tr h="5259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urpos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The futures triang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ontextual issu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Vision 2068</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5</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MTSF Priorit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Problem and Solution Trees</a:t>
                      </a:r>
                    </a:p>
                    <a:p>
                      <a:endParaRPr lang="en-ZA"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7</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Results Chai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Alternative modes of delive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Strategic Risk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r>
              <a:tr h="6571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smtClean="0">
                          <a:ln>
                            <a:noFill/>
                          </a:ln>
                          <a:solidFill>
                            <a:srgbClr val="FFFFFF"/>
                          </a:solidFill>
                          <a:effectLst/>
                          <a:uLnTx/>
                          <a:uFillTx/>
                          <a:latin typeface="Georgia"/>
                        </a:rPr>
                        <a:t>10</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44546A"/>
                          </a:solidFill>
                          <a:effectLst/>
                          <a:uLnTx/>
                          <a:uFillTx/>
                          <a:latin typeface="Segoe UI Light"/>
                          <a:cs typeface="Segoe UI" panose="020B0502040204020203" pitchFamily="34" charset="0"/>
                        </a:rPr>
                        <a:t>Critical success facto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213546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 xmlns:a16="http://schemas.microsoft.com/office/drawing/2014/main" id="{3D1D2E24-36FA-6149-B377-163EFDF93ABC}"/>
              </a:ext>
            </a:extLst>
          </p:cNvPr>
          <p:cNvSpPr txBox="1"/>
          <p:nvPr/>
        </p:nvSpPr>
        <p:spPr>
          <a:xfrm>
            <a:off x="989159" y="770894"/>
            <a:ext cx="6202543"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smtClean="0">
                <a:solidFill>
                  <a:srgbClr val="FFFFFF"/>
                </a:solidFill>
                <a:latin typeface="Segoe UI Light"/>
                <a:cs typeface="Segoe UI" panose="020B0502040204020203" pitchFamily="34" charset="0"/>
              </a:rPr>
              <a:t>organisation</a:t>
            </a:r>
            <a:r>
              <a:rPr lang="en-US" sz="1400" b="1" dirty="0" smtClean="0">
                <a:solidFill>
                  <a:srgbClr val="FFFFFF"/>
                </a:solidFill>
                <a:latin typeface="Segoe UI Light"/>
                <a:cs typeface="Segoe UI" panose="020B0502040204020203" pitchFamily="34" charset="0"/>
              </a:rPr>
              <a:t> </a:t>
            </a:r>
            <a:endParaRPr lang="en-US" sz="1400" b="1" dirty="0">
              <a:solidFill>
                <a:srgbClr val="FFFFFF"/>
              </a:solidFill>
              <a:latin typeface="Segoe UI Light"/>
              <a:cs typeface="Segoe UI" panose="020B0502040204020203" pitchFamily="34" charset="0"/>
            </a:endParaRP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p:nvCxnSpPr>
        <p:spPr>
          <a:xfrm>
            <a:off x="4777483" y="904126"/>
            <a:ext cx="6881117" cy="6597"/>
          </a:xfrm>
          <a:prstGeom prst="line">
            <a:avLst/>
          </a:prstGeom>
          <a:noFill/>
          <a:ln w="6350" cap="flat" cmpd="sng" algn="ctr">
            <a:solidFill>
              <a:srgbClr val="FFFFFF"/>
            </a:solidFill>
            <a:prstDash val="solid"/>
            <a:miter lim="800000"/>
          </a:ln>
          <a:effectLst/>
        </p:spPr>
      </p:cxnSp>
      <p:sp>
        <p:nvSpPr>
          <p:cNvPr id="16"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Purpos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453687" y="1242000"/>
            <a:ext cx="11284626" cy="5478423"/>
          </a:xfrm>
          <a:prstGeom prst="rect">
            <a:avLst/>
          </a:prstGeom>
          <a:noFill/>
        </p:spPr>
        <p:txBody>
          <a:bodyPr wrap="square" rtlCol="0">
            <a:spAutoFit/>
          </a:bodyPr>
          <a:lstStyle/>
          <a:p>
            <a:pPr algn="just"/>
            <a:r>
              <a:rPr lang="en-US" sz="2000" dirty="0" smtClean="0"/>
              <a:t>The purpose of the presentation is to:</a:t>
            </a:r>
          </a:p>
          <a:p>
            <a:pPr algn="just"/>
            <a:endParaRPr lang="en-US" sz="2000" dirty="0"/>
          </a:p>
          <a:p>
            <a:pPr marL="342900" indent="-342900" algn="just">
              <a:spcAft>
                <a:spcPts val="1200"/>
              </a:spcAft>
              <a:buAutoNum type="arabicPeriod"/>
            </a:pPr>
            <a:r>
              <a:rPr lang="en-US" sz="2000" dirty="0" smtClean="0"/>
              <a:t>Reflect on the current realities that we are facing as a Department to identify new challenges and opportunities in this context.</a:t>
            </a:r>
          </a:p>
          <a:p>
            <a:pPr marL="342900" indent="-342900" algn="just">
              <a:spcAft>
                <a:spcPts val="1200"/>
              </a:spcAft>
              <a:buAutoNum type="arabicPeriod"/>
            </a:pPr>
            <a:r>
              <a:rPr lang="en-US" sz="2000" dirty="0" smtClean="0"/>
              <a:t>Reflect on the 50 Year Plan for the Department, assess where we are and what we need to do.</a:t>
            </a:r>
          </a:p>
          <a:p>
            <a:pPr marL="342900" indent="-342900" algn="just">
              <a:spcAft>
                <a:spcPts val="1200"/>
              </a:spcAft>
              <a:buAutoNum type="arabicPeriod"/>
            </a:pPr>
            <a:r>
              <a:rPr lang="en-US" sz="2000" dirty="0" smtClean="0"/>
              <a:t>Reflect on the 2020-25 Revised Strategic Plan (SP) and the 2020/21 Revised Annual Performance Plan (APP).  What have achieved in this regard over the past six months (Q2 performance). </a:t>
            </a:r>
          </a:p>
          <a:p>
            <a:pPr marL="342900" indent="-342900" algn="just">
              <a:spcAft>
                <a:spcPts val="1200"/>
              </a:spcAft>
              <a:buAutoNum type="arabicPeriod"/>
            </a:pPr>
            <a:r>
              <a:rPr lang="en-US" sz="2000" dirty="0" smtClean="0"/>
              <a:t>Review the Problem/ Solution Trees to determine if there are any gaps that need to be closed (new problems/ root causes) taking into consideration the current operating environment.  Are there any pathways that are blocked on the Solution </a:t>
            </a:r>
            <a:r>
              <a:rPr lang="en-US" sz="2000" dirty="0"/>
              <a:t>T</a:t>
            </a:r>
            <a:r>
              <a:rPr lang="en-US" sz="2000" dirty="0" smtClean="0"/>
              <a:t>ree, can we follow a new or different pathway to get to the same result.  Has COVID-19 open/ closed some challenges or are they still relevant.</a:t>
            </a:r>
          </a:p>
          <a:p>
            <a:pPr marL="342900" indent="-342900" algn="just">
              <a:spcAft>
                <a:spcPts val="1200"/>
              </a:spcAft>
              <a:buFontTx/>
              <a:buAutoNum type="arabicPeriod"/>
            </a:pPr>
            <a:r>
              <a:rPr lang="en-US" sz="2000" dirty="0"/>
              <a:t>Are there any outputs that we have missed in the 2020/21 APP that must be included to achieve the </a:t>
            </a:r>
            <a:r>
              <a:rPr lang="en-US" sz="2000" dirty="0" smtClean="0"/>
              <a:t>Outcomes </a:t>
            </a:r>
            <a:r>
              <a:rPr lang="en-US" sz="2000" dirty="0"/>
              <a:t>in the Revised Strategic Plan?</a:t>
            </a:r>
          </a:p>
          <a:p>
            <a:pPr marL="342900" indent="-342900" algn="just">
              <a:spcAft>
                <a:spcPts val="1200"/>
              </a:spcAft>
              <a:buAutoNum type="arabicPeriod"/>
            </a:pPr>
            <a:r>
              <a:rPr lang="en-US" sz="2000" dirty="0" smtClean="0"/>
              <a:t>How do we deliver on the strategic intent set out in the Revised SP and APP?  What are the things that we need to deliver on in the Strategic Operational Plans for 2021/22 (strategic levers)?</a:t>
            </a:r>
            <a:endParaRPr lang="en-ZA" sz="2000" dirty="0"/>
          </a:p>
        </p:txBody>
      </p:sp>
    </p:spTree>
    <p:extLst>
      <p:ext uri="{BB962C8B-B14F-4D97-AF65-F5344CB8AC3E}">
        <p14:creationId xmlns:p14="http://schemas.microsoft.com/office/powerpoint/2010/main" val="40708257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5" name="Rectangle 24">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6" name="Rounded Rectangle 25">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27" name="TextBox 26">
            <a:extLst>
              <a:ext uri="{FF2B5EF4-FFF2-40B4-BE49-F238E27FC236}">
                <a16:creationId xmlns="" xmlns:a16="http://schemas.microsoft.com/office/drawing/2014/main" id="{3D1D2E24-36FA-6149-B377-163EFDF93ABC}"/>
              </a:ext>
            </a:extLst>
          </p:cNvPr>
          <p:cNvSpPr txBox="1"/>
          <p:nvPr/>
        </p:nvSpPr>
        <p:spPr>
          <a:xfrm>
            <a:off x="989160" y="781970"/>
            <a:ext cx="624721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28" name="Straight Connector 27">
            <a:extLst>
              <a:ext uri="{FF2B5EF4-FFF2-40B4-BE49-F238E27FC236}">
                <a16:creationId xmlns="" xmlns:a16="http://schemas.microsoft.com/office/drawing/2014/main" id="{D4D9F918-F730-4449-AB3E-2E8143B1A414}"/>
              </a:ext>
            </a:extLst>
          </p:cNvPr>
          <p:cNvCxnSpPr>
            <a:cxnSpLocks/>
          </p:cNvCxnSpPr>
          <p:nvPr/>
        </p:nvCxnSpPr>
        <p:spPr>
          <a:xfrm flipV="1">
            <a:off x="4820461" y="873343"/>
            <a:ext cx="7022965" cy="20509"/>
          </a:xfrm>
          <a:prstGeom prst="line">
            <a:avLst/>
          </a:prstGeom>
          <a:noFill/>
          <a:ln w="6350" cap="flat" cmpd="sng" algn="ctr">
            <a:solidFill>
              <a:srgbClr val="FFFFFF"/>
            </a:solidFill>
            <a:prstDash val="solid"/>
            <a:miter lim="800000"/>
          </a:ln>
          <a:effectLst/>
        </p:spPr>
      </p:cxnSp>
      <p:sp>
        <p:nvSpPr>
          <p:cNvPr id="29"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The futures triangle</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39" name="TextBox 38">
            <a:extLst>
              <a:ext uri="{FF2B5EF4-FFF2-40B4-BE49-F238E27FC236}">
                <a16:creationId xmlns:a16="http://schemas.microsoft.com/office/drawing/2014/main" xmlns="" id="{EDF13318-BE5A-4E95-9818-F671B1FE969A}"/>
              </a:ext>
            </a:extLst>
          </p:cNvPr>
          <p:cNvSpPr txBox="1"/>
          <p:nvPr/>
        </p:nvSpPr>
        <p:spPr>
          <a:xfrm>
            <a:off x="9009770" y="5461083"/>
            <a:ext cx="2743200" cy="1077218"/>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Social and economic inequalitie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Punitive </a:t>
            </a:r>
            <a:r>
              <a:rPr lang="en-US" sz="1400" dirty="0">
                <a:solidFill>
                  <a:prstClr val="black">
                    <a:lumMod val="75000"/>
                    <a:lumOff val="25000"/>
                  </a:prstClr>
                </a:solidFill>
                <a:latin typeface="Segoe UI"/>
              </a:rPr>
              <a:t>philosophy of corrections </a:t>
            </a:r>
            <a:endParaRPr lang="en-US" sz="1400" dirty="0" smtClean="0">
              <a:solidFill>
                <a:prstClr val="black">
                  <a:lumMod val="75000"/>
                  <a:lumOff val="25000"/>
                </a:prstClr>
              </a:solidFill>
              <a:latin typeface="Segoe UI"/>
            </a:endParaRPr>
          </a:p>
          <a:p>
            <a:pPr defTabSz="457200">
              <a:buClr>
                <a:srgbClr val="1D9A78"/>
              </a:buClr>
            </a:pPr>
            <a:endParaRPr lang="en-US" sz="1400" dirty="0">
              <a:solidFill>
                <a:prstClr val="black">
                  <a:lumMod val="75000"/>
                  <a:lumOff val="25000"/>
                </a:prstClr>
              </a:solidFill>
              <a:latin typeface="Segoe UI"/>
            </a:endParaRPr>
          </a:p>
        </p:txBody>
      </p:sp>
      <p:sp>
        <p:nvSpPr>
          <p:cNvPr id="40" name="TextBox 39">
            <a:extLst>
              <a:ext uri="{FF2B5EF4-FFF2-40B4-BE49-F238E27FC236}">
                <a16:creationId xmlns:a16="http://schemas.microsoft.com/office/drawing/2014/main" xmlns="" id="{51E5BD28-2346-4B59-A331-6ACDD2812D5D}"/>
              </a:ext>
            </a:extLst>
          </p:cNvPr>
          <p:cNvSpPr txBox="1"/>
          <p:nvPr/>
        </p:nvSpPr>
        <p:spPr>
          <a:xfrm>
            <a:off x="977871" y="5638674"/>
            <a:ext cx="2743200" cy="646331"/>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EF budget cuts</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COVID-19 </a:t>
            </a:r>
          </a:p>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MTSF </a:t>
            </a:r>
            <a:endParaRPr lang="en-US" sz="1400" dirty="0">
              <a:solidFill>
                <a:prstClr val="black">
                  <a:lumMod val="75000"/>
                  <a:lumOff val="25000"/>
                </a:prstClr>
              </a:solidFill>
              <a:latin typeface="Segoe UI"/>
            </a:endParaRPr>
          </a:p>
        </p:txBody>
      </p:sp>
      <p:sp>
        <p:nvSpPr>
          <p:cNvPr id="41" name="TextBox 40">
            <a:extLst>
              <a:ext uri="{FF2B5EF4-FFF2-40B4-BE49-F238E27FC236}">
                <a16:creationId xmlns:a16="http://schemas.microsoft.com/office/drawing/2014/main" xmlns="" id="{DC47793E-94A1-452E-94E3-B4DA4F325110}"/>
              </a:ext>
            </a:extLst>
          </p:cNvPr>
          <p:cNvSpPr txBox="1"/>
          <p:nvPr/>
        </p:nvSpPr>
        <p:spPr>
          <a:xfrm>
            <a:off x="6407728" y="1812697"/>
            <a:ext cx="2743200" cy="215444"/>
          </a:xfrm>
          <a:prstGeom prst="rect">
            <a:avLst/>
          </a:prstGeom>
          <a:noFill/>
          <a:ln>
            <a:noFill/>
          </a:ln>
        </p:spPr>
        <p:txBody>
          <a:bodyPr wrap="square" lIns="0" tIns="0" rIns="0" bIns="0" rtlCol="0" anchor="t">
            <a:spAutoFit/>
          </a:bodyPr>
          <a:lstStyle/>
          <a:p>
            <a:pPr marL="285750" indent="-285750" defTabSz="457200">
              <a:buClr>
                <a:srgbClr val="1D9A78"/>
              </a:buClr>
              <a:buFont typeface="Arial" panose="020B0604020202020204" pitchFamily="34" charset="0"/>
              <a:buChar char="•"/>
            </a:pPr>
            <a:r>
              <a:rPr lang="en-US" sz="1400" dirty="0" smtClean="0">
                <a:solidFill>
                  <a:prstClr val="black">
                    <a:lumMod val="75000"/>
                    <a:lumOff val="25000"/>
                  </a:prstClr>
                </a:solidFill>
                <a:latin typeface="Segoe UI"/>
              </a:rPr>
              <a:t>A country free of crime</a:t>
            </a:r>
            <a:endParaRPr lang="en-US" sz="1400" dirty="0">
              <a:solidFill>
                <a:prstClr val="black">
                  <a:lumMod val="75000"/>
                  <a:lumOff val="25000"/>
                </a:prstClr>
              </a:solidFill>
              <a:latin typeface="Segoe UI"/>
            </a:endParaRPr>
          </a:p>
        </p:txBody>
      </p:sp>
      <p:sp>
        <p:nvSpPr>
          <p:cNvPr id="42" name="TextBox 41">
            <a:extLst>
              <a:ext uri="{FF2B5EF4-FFF2-40B4-BE49-F238E27FC236}">
                <a16:creationId xmlns:a16="http://schemas.microsoft.com/office/drawing/2014/main" xmlns="" id="{F83931A5-178D-4718-9EA2-092B54998AAC}"/>
              </a:ext>
            </a:extLst>
          </p:cNvPr>
          <p:cNvSpPr txBox="1"/>
          <p:nvPr/>
        </p:nvSpPr>
        <p:spPr>
          <a:xfrm>
            <a:off x="6407728" y="1535699"/>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ll of the future</a:t>
            </a:r>
            <a:endParaRPr lang="en-US" sz="1600" b="1" dirty="0">
              <a:solidFill>
                <a:prstClr val="black">
                  <a:lumMod val="75000"/>
                  <a:lumOff val="25000"/>
                </a:prstClr>
              </a:solidFill>
              <a:latin typeface="Century Gothic"/>
            </a:endParaRPr>
          </a:p>
        </p:txBody>
      </p:sp>
      <p:sp>
        <p:nvSpPr>
          <p:cNvPr id="43" name="TextBox 42">
            <a:extLst>
              <a:ext uri="{FF2B5EF4-FFF2-40B4-BE49-F238E27FC236}">
                <a16:creationId xmlns:a16="http://schemas.microsoft.com/office/drawing/2014/main" xmlns="" id="{6EEB5E61-09D8-4367-9A30-488ABB06BEA2}"/>
              </a:ext>
            </a:extLst>
          </p:cNvPr>
          <p:cNvSpPr txBox="1"/>
          <p:nvPr/>
        </p:nvSpPr>
        <p:spPr>
          <a:xfrm>
            <a:off x="9009770" y="5160381"/>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Weight of the past</a:t>
            </a:r>
            <a:endParaRPr lang="en-US" sz="1600" b="1" dirty="0">
              <a:solidFill>
                <a:prstClr val="black">
                  <a:lumMod val="75000"/>
                  <a:lumOff val="25000"/>
                </a:prstClr>
              </a:solidFill>
              <a:latin typeface="Century Gothic"/>
            </a:endParaRPr>
          </a:p>
        </p:txBody>
      </p:sp>
      <p:sp>
        <p:nvSpPr>
          <p:cNvPr id="44" name="TextBox 43">
            <a:extLst>
              <a:ext uri="{FF2B5EF4-FFF2-40B4-BE49-F238E27FC236}">
                <a16:creationId xmlns:a16="http://schemas.microsoft.com/office/drawing/2014/main" xmlns="" id="{28FFEF39-D591-4CBA-8B23-1E463205455C}"/>
              </a:ext>
            </a:extLst>
          </p:cNvPr>
          <p:cNvSpPr txBox="1"/>
          <p:nvPr/>
        </p:nvSpPr>
        <p:spPr>
          <a:xfrm>
            <a:off x="977871" y="5337972"/>
            <a:ext cx="2743200" cy="246221"/>
          </a:xfrm>
          <a:prstGeom prst="rect">
            <a:avLst/>
          </a:prstGeom>
          <a:noFill/>
          <a:ln>
            <a:noFill/>
          </a:ln>
        </p:spPr>
        <p:txBody>
          <a:bodyPr wrap="square" lIns="0" tIns="0" rIns="0" bIns="0" rtlCol="0" anchor="t">
            <a:spAutoFit/>
          </a:bodyPr>
          <a:lstStyle/>
          <a:p>
            <a:pPr defTabSz="457200">
              <a:buClr>
                <a:srgbClr val="1D9A78"/>
              </a:buClr>
            </a:pPr>
            <a:r>
              <a:rPr lang="en-US" sz="1600" b="1" dirty="0" smtClean="0">
                <a:solidFill>
                  <a:prstClr val="black">
                    <a:lumMod val="75000"/>
                    <a:lumOff val="25000"/>
                  </a:prstClr>
                </a:solidFill>
                <a:latin typeface="Century Gothic"/>
              </a:rPr>
              <a:t>Push of the present</a:t>
            </a:r>
            <a:endParaRPr lang="en-US" sz="1600" b="1" dirty="0">
              <a:solidFill>
                <a:prstClr val="black">
                  <a:lumMod val="75000"/>
                  <a:lumOff val="25000"/>
                </a:prstClr>
              </a:solidFill>
              <a:latin typeface="Century Gothic"/>
            </a:endParaRPr>
          </a:p>
        </p:txBody>
      </p:sp>
      <p:grpSp>
        <p:nvGrpSpPr>
          <p:cNvPr id="3" name="Group 2"/>
          <p:cNvGrpSpPr/>
          <p:nvPr/>
        </p:nvGrpSpPr>
        <p:grpSpPr>
          <a:xfrm>
            <a:off x="2750885" y="1368924"/>
            <a:ext cx="6027674" cy="4993456"/>
            <a:chOff x="3381603" y="1368924"/>
            <a:chExt cx="5396955" cy="4580378"/>
          </a:xfrm>
        </p:grpSpPr>
        <p:sp>
          <p:nvSpPr>
            <p:cNvPr id="30" name="Isosceles Triangle 29">
              <a:extLst>
                <a:ext uri="{FF2B5EF4-FFF2-40B4-BE49-F238E27FC236}">
                  <a16:creationId xmlns:a16="http://schemas.microsoft.com/office/drawing/2014/main" xmlns="" id="{B8EB1900-C0BF-4A8E-A4F5-94992B962481}"/>
                </a:ext>
              </a:extLst>
            </p:cNvPr>
            <p:cNvSpPr/>
            <p:nvPr/>
          </p:nvSpPr>
          <p:spPr>
            <a:xfrm>
              <a:off x="5234624" y="1368924"/>
              <a:ext cx="1722748" cy="1485129"/>
            </a:xfrm>
            <a:prstGeom prst="triangle">
              <a:avLst/>
            </a:prstGeom>
            <a:solidFill>
              <a:srgbClr val="1D9A78"/>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1" name="Isosceles Triangle 30">
              <a:extLst>
                <a:ext uri="{FF2B5EF4-FFF2-40B4-BE49-F238E27FC236}">
                  <a16:creationId xmlns:a16="http://schemas.microsoft.com/office/drawing/2014/main" xmlns="" id="{D5B03CDC-5287-44F5-8AF2-2BC7555C67A3}"/>
                </a:ext>
              </a:extLst>
            </p:cNvPr>
            <p:cNvSpPr/>
            <p:nvPr/>
          </p:nvSpPr>
          <p:spPr>
            <a:xfrm rot="10800000">
              <a:off x="523462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2" name="Isosceles Triangle 31">
              <a:extLst>
                <a:ext uri="{FF2B5EF4-FFF2-40B4-BE49-F238E27FC236}">
                  <a16:creationId xmlns:a16="http://schemas.microsoft.com/office/drawing/2014/main" xmlns="" id="{D3B44D03-A6C7-4B53-AA3E-23781EB5BEF1}"/>
                </a:ext>
              </a:extLst>
            </p:cNvPr>
            <p:cNvSpPr/>
            <p:nvPr/>
          </p:nvSpPr>
          <p:spPr>
            <a:xfrm>
              <a:off x="6161136"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sp>
          <p:nvSpPr>
            <p:cNvPr id="33" name="Isosceles Triangle 32">
              <a:extLst>
                <a:ext uri="{FF2B5EF4-FFF2-40B4-BE49-F238E27FC236}">
                  <a16:creationId xmlns:a16="http://schemas.microsoft.com/office/drawing/2014/main" xmlns="" id="{B4918714-A6BD-49B2-A3E0-7A8C7DA799AB}"/>
                </a:ext>
              </a:extLst>
            </p:cNvPr>
            <p:cNvSpPr/>
            <p:nvPr/>
          </p:nvSpPr>
          <p:spPr>
            <a:xfrm>
              <a:off x="4308114" y="2906161"/>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4" name="Isosceles Triangle 33">
              <a:extLst>
                <a:ext uri="{FF2B5EF4-FFF2-40B4-BE49-F238E27FC236}">
                  <a16:creationId xmlns:a16="http://schemas.microsoft.com/office/drawing/2014/main" xmlns="" id="{98C06949-849F-462F-889B-6FEC61584955}"/>
                </a:ext>
              </a:extLst>
            </p:cNvPr>
            <p:cNvSpPr/>
            <p:nvPr/>
          </p:nvSpPr>
          <p:spPr>
            <a:xfrm rot="10800000">
              <a:off x="430811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5" name="Isosceles Triangle 34">
              <a:extLst>
                <a:ext uri="{FF2B5EF4-FFF2-40B4-BE49-F238E27FC236}">
                  <a16:creationId xmlns:a16="http://schemas.microsoft.com/office/drawing/2014/main" xmlns="" id="{446C93AD-C84D-4EBF-836B-11E75E5FDC3A}"/>
                </a:ext>
              </a:extLst>
            </p:cNvPr>
            <p:cNvSpPr/>
            <p:nvPr/>
          </p:nvSpPr>
          <p:spPr>
            <a:xfrm>
              <a:off x="5234624"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6" name="Isosceles Triangle 35">
              <a:extLst>
                <a:ext uri="{FF2B5EF4-FFF2-40B4-BE49-F238E27FC236}">
                  <a16:creationId xmlns:a16="http://schemas.microsoft.com/office/drawing/2014/main" xmlns="" id="{48DE98A3-92E2-4864-9303-333D1FBE9EF7}"/>
                </a:ext>
              </a:extLst>
            </p:cNvPr>
            <p:cNvSpPr/>
            <p:nvPr/>
          </p:nvSpPr>
          <p:spPr>
            <a:xfrm>
              <a:off x="3381603" y="4443399"/>
              <a:ext cx="1722748" cy="1485129"/>
            </a:xfrm>
            <a:prstGeom prst="triangle">
              <a:avLst/>
            </a:prstGeom>
            <a:solidFill>
              <a:srgbClr val="36AFCE"/>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7" name="Isosceles Triangle 36">
              <a:extLst>
                <a:ext uri="{FF2B5EF4-FFF2-40B4-BE49-F238E27FC236}">
                  <a16:creationId xmlns:a16="http://schemas.microsoft.com/office/drawing/2014/main" xmlns="" id="{068A30B3-3DA2-4B53-A6C4-7EE613F3292D}"/>
                </a:ext>
              </a:extLst>
            </p:cNvPr>
            <p:cNvSpPr/>
            <p:nvPr/>
          </p:nvSpPr>
          <p:spPr>
            <a:xfrm rot="10800000">
              <a:off x="6161139" y="4443399"/>
              <a:ext cx="1722748" cy="1485129"/>
            </a:xfrm>
            <a:prstGeom prst="triangle">
              <a:avLst/>
            </a:prstGeom>
            <a:noFill/>
            <a:ln w="6350" cap="flat" cmpd="sng" algn="ctr">
              <a:solidFill>
                <a:srgbClr val="44546A"/>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white"/>
                </a:solidFill>
                <a:effectLst/>
                <a:uLnTx/>
                <a:uFillTx/>
                <a:latin typeface="Segoe UI"/>
              </a:endParaRPr>
            </a:p>
          </p:txBody>
        </p:sp>
        <p:sp>
          <p:nvSpPr>
            <p:cNvPr id="38" name="Isosceles Triangle 37">
              <a:extLst>
                <a:ext uri="{FF2B5EF4-FFF2-40B4-BE49-F238E27FC236}">
                  <a16:creationId xmlns:a16="http://schemas.microsoft.com/office/drawing/2014/main" xmlns="" id="{4480550F-258B-449C-9516-3E5E1A1D79F7}"/>
                </a:ext>
              </a:extLst>
            </p:cNvPr>
            <p:cNvSpPr/>
            <p:nvPr/>
          </p:nvSpPr>
          <p:spPr>
            <a:xfrm>
              <a:off x="7055810" y="4464173"/>
              <a:ext cx="1722748" cy="1485129"/>
            </a:xfrm>
            <a:prstGeom prst="triangle">
              <a:avLst/>
            </a:prstGeom>
            <a:solidFill>
              <a:srgbClr val="8BC145"/>
            </a:solidFill>
            <a:ln w="12700" cap="flat" cmpd="sng" algn="ctr">
              <a:noFill/>
              <a:prstDash val="solid"/>
              <a:miter lim="800000"/>
            </a:ln>
            <a:effectLst>
              <a:outerShdw blurRad="50800" dist="38100" dir="5400000" algn="t"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Segoe UI"/>
              </a:endParaRPr>
            </a:p>
          </p:txBody>
        </p:sp>
        <p:grpSp>
          <p:nvGrpSpPr>
            <p:cNvPr id="45" name="Group 44">
              <a:extLst>
                <a:ext uri="{FF2B5EF4-FFF2-40B4-BE49-F238E27FC236}">
                  <a16:creationId xmlns:a16="http://schemas.microsoft.com/office/drawing/2014/main" xmlns="" id="{E4699F6B-090E-4AE0-9F76-5ED380702B80}"/>
                </a:ext>
              </a:extLst>
            </p:cNvPr>
            <p:cNvGrpSpPr/>
            <p:nvPr/>
          </p:nvGrpSpPr>
          <p:grpSpPr>
            <a:xfrm>
              <a:off x="5869585" y="2186462"/>
              <a:ext cx="322553" cy="292257"/>
              <a:chOff x="6448425" y="796925"/>
              <a:chExt cx="287338" cy="260350"/>
            </a:xfrm>
            <a:solidFill>
              <a:sysClr val="window" lastClr="FFFFFF"/>
            </a:solidFill>
          </p:grpSpPr>
          <p:sp>
            <p:nvSpPr>
              <p:cNvPr id="46" name="Freeform 3562">
                <a:extLst>
                  <a:ext uri="{FF2B5EF4-FFF2-40B4-BE49-F238E27FC236}">
                    <a16:creationId xmlns:a16="http://schemas.microsoft.com/office/drawing/2014/main" xmlns="" id="{A9005FA7-0A4A-481C-A7F7-24DA4EAAAD25}"/>
                  </a:ext>
                </a:extLst>
              </p:cNvPr>
              <p:cNvSpPr>
                <a:spLocks/>
              </p:cNvSpPr>
              <p:nvPr/>
            </p:nvSpPr>
            <p:spPr bwMode="auto">
              <a:xfrm>
                <a:off x="6448425" y="796925"/>
                <a:ext cx="277812" cy="161925"/>
              </a:xfrm>
              <a:custGeom>
                <a:avLst/>
                <a:gdLst>
                  <a:gd name="T0" fmla="*/ 8 w 701"/>
                  <a:gd name="T1" fmla="*/ 285 h 408"/>
                  <a:gd name="T2" fmla="*/ 5 w 701"/>
                  <a:gd name="T3" fmla="*/ 288 h 408"/>
                  <a:gd name="T4" fmla="*/ 2 w 701"/>
                  <a:gd name="T5" fmla="*/ 290 h 408"/>
                  <a:gd name="T6" fmla="*/ 1 w 701"/>
                  <a:gd name="T7" fmla="*/ 293 h 408"/>
                  <a:gd name="T8" fmla="*/ 0 w 701"/>
                  <a:gd name="T9" fmla="*/ 297 h 408"/>
                  <a:gd name="T10" fmla="*/ 1 w 701"/>
                  <a:gd name="T11" fmla="*/ 300 h 408"/>
                  <a:gd name="T12" fmla="*/ 2 w 701"/>
                  <a:gd name="T13" fmla="*/ 303 h 408"/>
                  <a:gd name="T14" fmla="*/ 5 w 701"/>
                  <a:gd name="T15" fmla="*/ 306 h 408"/>
                  <a:gd name="T16" fmla="*/ 8 w 701"/>
                  <a:gd name="T17" fmla="*/ 308 h 408"/>
                  <a:gd name="T18" fmla="*/ 259 w 701"/>
                  <a:gd name="T19" fmla="*/ 408 h 408"/>
                  <a:gd name="T20" fmla="*/ 701 w 701"/>
                  <a:gd name="T21" fmla="*/ 0 h 408"/>
                  <a:gd name="T22" fmla="*/ 8 w 701"/>
                  <a:gd name="T23" fmla="*/ 285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1" h="408">
                    <a:moveTo>
                      <a:pt x="8" y="285"/>
                    </a:moveTo>
                    <a:lnTo>
                      <a:pt x="5" y="288"/>
                    </a:lnTo>
                    <a:lnTo>
                      <a:pt x="2" y="290"/>
                    </a:lnTo>
                    <a:lnTo>
                      <a:pt x="1" y="293"/>
                    </a:lnTo>
                    <a:lnTo>
                      <a:pt x="0" y="297"/>
                    </a:lnTo>
                    <a:lnTo>
                      <a:pt x="1" y="300"/>
                    </a:lnTo>
                    <a:lnTo>
                      <a:pt x="2" y="303"/>
                    </a:lnTo>
                    <a:lnTo>
                      <a:pt x="5" y="306"/>
                    </a:lnTo>
                    <a:lnTo>
                      <a:pt x="8" y="308"/>
                    </a:lnTo>
                    <a:lnTo>
                      <a:pt x="259" y="408"/>
                    </a:lnTo>
                    <a:lnTo>
                      <a:pt x="701" y="0"/>
                    </a:lnTo>
                    <a:lnTo>
                      <a:pt x="8"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47" name="Freeform 3563">
                <a:extLst>
                  <a:ext uri="{FF2B5EF4-FFF2-40B4-BE49-F238E27FC236}">
                    <a16:creationId xmlns:a16="http://schemas.microsoft.com/office/drawing/2014/main" xmlns="" id="{CAC65383-3825-428A-B61E-0BFD466C6BD8}"/>
                  </a:ext>
                </a:extLst>
              </p:cNvPr>
              <p:cNvSpPr>
                <a:spLocks/>
              </p:cNvSpPr>
              <p:nvPr/>
            </p:nvSpPr>
            <p:spPr bwMode="auto">
              <a:xfrm>
                <a:off x="6554788" y="800100"/>
                <a:ext cx="180975" cy="257175"/>
              </a:xfrm>
              <a:custGeom>
                <a:avLst/>
                <a:gdLst>
                  <a:gd name="T0" fmla="*/ 0 w 456"/>
                  <a:gd name="T1" fmla="*/ 424 h 646"/>
                  <a:gd name="T2" fmla="*/ 0 w 456"/>
                  <a:gd name="T3" fmla="*/ 635 h 646"/>
                  <a:gd name="T4" fmla="*/ 0 w 456"/>
                  <a:gd name="T5" fmla="*/ 639 h 646"/>
                  <a:gd name="T6" fmla="*/ 3 w 456"/>
                  <a:gd name="T7" fmla="*/ 642 h 646"/>
                  <a:gd name="T8" fmla="*/ 5 w 456"/>
                  <a:gd name="T9" fmla="*/ 645 h 646"/>
                  <a:gd name="T10" fmla="*/ 9 w 456"/>
                  <a:gd name="T11" fmla="*/ 646 h 646"/>
                  <a:gd name="T12" fmla="*/ 11 w 456"/>
                  <a:gd name="T13" fmla="*/ 646 h 646"/>
                  <a:gd name="T14" fmla="*/ 12 w 456"/>
                  <a:gd name="T15" fmla="*/ 646 h 646"/>
                  <a:gd name="T16" fmla="*/ 16 w 456"/>
                  <a:gd name="T17" fmla="*/ 646 h 646"/>
                  <a:gd name="T18" fmla="*/ 18 w 456"/>
                  <a:gd name="T19" fmla="*/ 645 h 646"/>
                  <a:gd name="T20" fmla="*/ 21 w 456"/>
                  <a:gd name="T21" fmla="*/ 644 h 646"/>
                  <a:gd name="T22" fmla="*/ 22 w 456"/>
                  <a:gd name="T23" fmla="*/ 641 h 646"/>
                  <a:gd name="T24" fmla="*/ 126 w 456"/>
                  <a:gd name="T25" fmla="*/ 469 h 646"/>
                  <a:gd name="T26" fmla="*/ 315 w 456"/>
                  <a:gd name="T27" fmla="*/ 569 h 646"/>
                  <a:gd name="T28" fmla="*/ 317 w 456"/>
                  <a:gd name="T29" fmla="*/ 570 h 646"/>
                  <a:gd name="T30" fmla="*/ 320 w 456"/>
                  <a:gd name="T31" fmla="*/ 572 h 646"/>
                  <a:gd name="T32" fmla="*/ 323 w 456"/>
                  <a:gd name="T33" fmla="*/ 570 h 646"/>
                  <a:gd name="T34" fmla="*/ 325 w 456"/>
                  <a:gd name="T35" fmla="*/ 570 h 646"/>
                  <a:gd name="T36" fmla="*/ 329 w 456"/>
                  <a:gd name="T37" fmla="*/ 567 h 646"/>
                  <a:gd name="T38" fmla="*/ 332 w 456"/>
                  <a:gd name="T39" fmla="*/ 561 h 646"/>
                  <a:gd name="T40" fmla="*/ 456 w 456"/>
                  <a:gd name="T41" fmla="*/ 0 h 646"/>
                  <a:gd name="T42" fmla="*/ 0 w 456"/>
                  <a:gd name="T43" fmla="*/ 424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56" h="646">
                    <a:moveTo>
                      <a:pt x="0" y="424"/>
                    </a:moveTo>
                    <a:lnTo>
                      <a:pt x="0" y="635"/>
                    </a:lnTo>
                    <a:lnTo>
                      <a:pt x="0" y="639"/>
                    </a:lnTo>
                    <a:lnTo>
                      <a:pt x="3" y="642"/>
                    </a:lnTo>
                    <a:lnTo>
                      <a:pt x="5" y="645"/>
                    </a:lnTo>
                    <a:lnTo>
                      <a:pt x="9" y="646"/>
                    </a:lnTo>
                    <a:lnTo>
                      <a:pt x="11" y="646"/>
                    </a:lnTo>
                    <a:lnTo>
                      <a:pt x="12" y="646"/>
                    </a:lnTo>
                    <a:lnTo>
                      <a:pt x="16" y="646"/>
                    </a:lnTo>
                    <a:lnTo>
                      <a:pt x="18" y="645"/>
                    </a:lnTo>
                    <a:lnTo>
                      <a:pt x="21" y="644"/>
                    </a:lnTo>
                    <a:lnTo>
                      <a:pt x="22" y="641"/>
                    </a:lnTo>
                    <a:lnTo>
                      <a:pt x="126" y="469"/>
                    </a:lnTo>
                    <a:lnTo>
                      <a:pt x="315" y="569"/>
                    </a:lnTo>
                    <a:lnTo>
                      <a:pt x="317" y="570"/>
                    </a:lnTo>
                    <a:lnTo>
                      <a:pt x="320" y="572"/>
                    </a:lnTo>
                    <a:lnTo>
                      <a:pt x="323" y="570"/>
                    </a:lnTo>
                    <a:lnTo>
                      <a:pt x="325" y="570"/>
                    </a:lnTo>
                    <a:lnTo>
                      <a:pt x="329" y="567"/>
                    </a:lnTo>
                    <a:lnTo>
                      <a:pt x="332" y="561"/>
                    </a:lnTo>
                    <a:lnTo>
                      <a:pt x="456" y="0"/>
                    </a:lnTo>
                    <a:lnTo>
                      <a:pt x="0" y="4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48" name="Group 47">
              <a:extLst>
                <a:ext uri="{FF2B5EF4-FFF2-40B4-BE49-F238E27FC236}">
                  <a16:creationId xmlns:a16="http://schemas.microsoft.com/office/drawing/2014/main" xmlns="" id="{0BF71FD6-8EEE-4D40-A67B-108744ECDFDD}"/>
                </a:ext>
              </a:extLst>
            </p:cNvPr>
            <p:cNvGrpSpPr/>
            <p:nvPr/>
          </p:nvGrpSpPr>
          <p:grpSpPr>
            <a:xfrm>
              <a:off x="7799930" y="5185963"/>
              <a:ext cx="320770" cy="315423"/>
              <a:chOff x="8739188" y="1347788"/>
              <a:chExt cx="285750" cy="280987"/>
            </a:xfrm>
            <a:solidFill>
              <a:sysClr val="window" lastClr="FFFFFF"/>
            </a:solidFill>
          </p:grpSpPr>
          <p:sp>
            <p:nvSpPr>
              <p:cNvPr id="49" name="Freeform 3556">
                <a:extLst>
                  <a:ext uri="{FF2B5EF4-FFF2-40B4-BE49-F238E27FC236}">
                    <a16:creationId xmlns:a16="http://schemas.microsoft.com/office/drawing/2014/main" xmlns="" id="{8B514793-46F9-4C4D-9DBD-1B3486D0BA7A}"/>
                  </a:ext>
                </a:extLst>
              </p:cNvPr>
              <p:cNvSpPr>
                <a:spLocks/>
              </p:cNvSpPr>
              <p:nvPr/>
            </p:nvSpPr>
            <p:spPr bwMode="auto">
              <a:xfrm>
                <a:off x="8739188" y="1466850"/>
                <a:ext cx="285750" cy="161925"/>
              </a:xfrm>
              <a:custGeom>
                <a:avLst/>
                <a:gdLst>
                  <a:gd name="T0" fmla="*/ 720 w 720"/>
                  <a:gd name="T1" fmla="*/ 200 h 408"/>
                  <a:gd name="T2" fmla="*/ 719 w 720"/>
                  <a:gd name="T3" fmla="*/ 199 h 408"/>
                  <a:gd name="T4" fmla="*/ 611 w 720"/>
                  <a:gd name="T5" fmla="*/ 6 h 408"/>
                  <a:gd name="T6" fmla="*/ 606 w 720"/>
                  <a:gd name="T7" fmla="*/ 3 h 408"/>
                  <a:gd name="T8" fmla="*/ 601 w 720"/>
                  <a:gd name="T9" fmla="*/ 0 h 408"/>
                  <a:gd name="T10" fmla="*/ 427 w 720"/>
                  <a:gd name="T11" fmla="*/ 1 h 408"/>
                  <a:gd name="T12" fmla="*/ 421 w 720"/>
                  <a:gd name="T13" fmla="*/ 8 h 408"/>
                  <a:gd name="T14" fmla="*/ 421 w 720"/>
                  <a:gd name="T15" fmla="*/ 17 h 408"/>
                  <a:gd name="T16" fmla="*/ 427 w 720"/>
                  <a:gd name="T17" fmla="*/ 23 h 408"/>
                  <a:gd name="T18" fmla="*/ 593 w 720"/>
                  <a:gd name="T19" fmla="*/ 24 h 408"/>
                  <a:gd name="T20" fmla="*/ 491 w 720"/>
                  <a:gd name="T21" fmla="*/ 193 h 408"/>
                  <a:gd name="T22" fmla="*/ 484 w 720"/>
                  <a:gd name="T23" fmla="*/ 197 h 408"/>
                  <a:gd name="T24" fmla="*/ 480 w 720"/>
                  <a:gd name="T25" fmla="*/ 204 h 408"/>
                  <a:gd name="T26" fmla="*/ 479 w 720"/>
                  <a:gd name="T27" fmla="*/ 235 h 408"/>
                  <a:gd name="T28" fmla="*/ 470 w 720"/>
                  <a:gd name="T29" fmla="*/ 248 h 408"/>
                  <a:gd name="T30" fmla="*/ 455 w 720"/>
                  <a:gd name="T31" fmla="*/ 258 h 408"/>
                  <a:gd name="T32" fmla="*/ 439 w 720"/>
                  <a:gd name="T33" fmla="*/ 263 h 408"/>
                  <a:gd name="T34" fmla="*/ 300 w 720"/>
                  <a:gd name="T35" fmla="*/ 265 h 408"/>
                  <a:gd name="T36" fmla="*/ 286 w 720"/>
                  <a:gd name="T37" fmla="*/ 262 h 408"/>
                  <a:gd name="T38" fmla="*/ 274 w 720"/>
                  <a:gd name="T39" fmla="*/ 253 h 408"/>
                  <a:gd name="T40" fmla="*/ 267 w 720"/>
                  <a:gd name="T41" fmla="*/ 241 h 408"/>
                  <a:gd name="T42" fmla="*/ 264 w 720"/>
                  <a:gd name="T43" fmla="*/ 227 h 408"/>
                  <a:gd name="T44" fmla="*/ 263 w 720"/>
                  <a:gd name="T45" fmla="*/ 200 h 408"/>
                  <a:gd name="T46" fmla="*/ 256 w 720"/>
                  <a:gd name="T47" fmla="*/ 194 h 408"/>
                  <a:gd name="T48" fmla="*/ 32 w 720"/>
                  <a:gd name="T49" fmla="*/ 193 h 408"/>
                  <a:gd name="T50" fmla="*/ 191 w 720"/>
                  <a:gd name="T51" fmla="*/ 24 h 408"/>
                  <a:gd name="T52" fmla="*/ 200 w 720"/>
                  <a:gd name="T53" fmla="*/ 21 h 408"/>
                  <a:gd name="T54" fmla="*/ 204 w 720"/>
                  <a:gd name="T55" fmla="*/ 13 h 408"/>
                  <a:gd name="T56" fmla="*/ 200 w 720"/>
                  <a:gd name="T57" fmla="*/ 4 h 408"/>
                  <a:gd name="T58" fmla="*/ 191 w 720"/>
                  <a:gd name="T59" fmla="*/ 0 h 408"/>
                  <a:gd name="T60" fmla="*/ 116 w 720"/>
                  <a:gd name="T61" fmla="*/ 1 h 408"/>
                  <a:gd name="T62" fmla="*/ 111 w 720"/>
                  <a:gd name="T63" fmla="*/ 4 h 408"/>
                  <a:gd name="T64" fmla="*/ 1 w 720"/>
                  <a:gd name="T65" fmla="*/ 199 h 408"/>
                  <a:gd name="T66" fmla="*/ 1 w 720"/>
                  <a:gd name="T67" fmla="*/ 199 h 408"/>
                  <a:gd name="T68" fmla="*/ 0 w 720"/>
                  <a:gd name="T69" fmla="*/ 202 h 408"/>
                  <a:gd name="T70" fmla="*/ 0 w 720"/>
                  <a:gd name="T71" fmla="*/ 204 h 408"/>
                  <a:gd name="T72" fmla="*/ 0 w 720"/>
                  <a:gd name="T73" fmla="*/ 204 h 408"/>
                  <a:gd name="T74" fmla="*/ 0 w 720"/>
                  <a:gd name="T75" fmla="*/ 401 h 408"/>
                  <a:gd name="T76" fmla="*/ 6 w 720"/>
                  <a:gd name="T77" fmla="*/ 407 h 408"/>
                  <a:gd name="T78" fmla="*/ 708 w 720"/>
                  <a:gd name="T79" fmla="*/ 408 h 408"/>
                  <a:gd name="T80" fmla="*/ 716 w 720"/>
                  <a:gd name="T81" fmla="*/ 405 h 408"/>
                  <a:gd name="T82" fmla="*/ 720 w 720"/>
                  <a:gd name="T83" fmla="*/ 397 h 408"/>
                  <a:gd name="T84" fmla="*/ 720 w 720"/>
                  <a:gd name="T85" fmla="*/ 204 h 408"/>
                  <a:gd name="T86" fmla="*/ 720 w 720"/>
                  <a:gd name="T87" fmla="*/ 20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0" h="408">
                    <a:moveTo>
                      <a:pt x="720" y="202"/>
                    </a:moveTo>
                    <a:lnTo>
                      <a:pt x="720" y="200"/>
                    </a:lnTo>
                    <a:lnTo>
                      <a:pt x="719" y="199"/>
                    </a:lnTo>
                    <a:lnTo>
                      <a:pt x="719" y="199"/>
                    </a:lnTo>
                    <a:lnTo>
                      <a:pt x="719" y="199"/>
                    </a:lnTo>
                    <a:lnTo>
                      <a:pt x="611" y="6"/>
                    </a:lnTo>
                    <a:lnTo>
                      <a:pt x="608" y="4"/>
                    </a:lnTo>
                    <a:lnTo>
                      <a:pt x="606" y="3"/>
                    </a:lnTo>
                    <a:lnTo>
                      <a:pt x="603" y="1"/>
                    </a:lnTo>
                    <a:lnTo>
                      <a:pt x="601" y="0"/>
                    </a:lnTo>
                    <a:lnTo>
                      <a:pt x="432" y="0"/>
                    </a:lnTo>
                    <a:lnTo>
                      <a:pt x="427" y="1"/>
                    </a:lnTo>
                    <a:lnTo>
                      <a:pt x="423" y="4"/>
                    </a:lnTo>
                    <a:lnTo>
                      <a:pt x="421" y="8"/>
                    </a:lnTo>
                    <a:lnTo>
                      <a:pt x="419" y="13"/>
                    </a:lnTo>
                    <a:lnTo>
                      <a:pt x="421" y="17"/>
                    </a:lnTo>
                    <a:lnTo>
                      <a:pt x="423" y="21"/>
                    </a:lnTo>
                    <a:lnTo>
                      <a:pt x="427" y="23"/>
                    </a:lnTo>
                    <a:lnTo>
                      <a:pt x="432" y="24"/>
                    </a:lnTo>
                    <a:lnTo>
                      <a:pt x="593" y="24"/>
                    </a:lnTo>
                    <a:lnTo>
                      <a:pt x="688" y="193"/>
                    </a:lnTo>
                    <a:lnTo>
                      <a:pt x="491" y="193"/>
                    </a:lnTo>
                    <a:lnTo>
                      <a:pt x="488" y="194"/>
                    </a:lnTo>
                    <a:lnTo>
                      <a:pt x="484" y="197"/>
                    </a:lnTo>
                    <a:lnTo>
                      <a:pt x="481" y="200"/>
                    </a:lnTo>
                    <a:lnTo>
                      <a:pt x="480" y="204"/>
                    </a:lnTo>
                    <a:lnTo>
                      <a:pt x="480" y="229"/>
                    </a:lnTo>
                    <a:lnTo>
                      <a:pt x="479" y="235"/>
                    </a:lnTo>
                    <a:lnTo>
                      <a:pt x="475" y="241"/>
                    </a:lnTo>
                    <a:lnTo>
                      <a:pt x="470" y="248"/>
                    </a:lnTo>
                    <a:lnTo>
                      <a:pt x="463" y="253"/>
                    </a:lnTo>
                    <a:lnTo>
                      <a:pt x="455" y="258"/>
                    </a:lnTo>
                    <a:lnTo>
                      <a:pt x="448" y="262"/>
                    </a:lnTo>
                    <a:lnTo>
                      <a:pt x="439" y="263"/>
                    </a:lnTo>
                    <a:lnTo>
                      <a:pt x="432" y="265"/>
                    </a:lnTo>
                    <a:lnTo>
                      <a:pt x="300" y="265"/>
                    </a:lnTo>
                    <a:lnTo>
                      <a:pt x="294" y="263"/>
                    </a:lnTo>
                    <a:lnTo>
                      <a:pt x="286" y="262"/>
                    </a:lnTo>
                    <a:lnTo>
                      <a:pt x="281" y="258"/>
                    </a:lnTo>
                    <a:lnTo>
                      <a:pt x="274" y="253"/>
                    </a:lnTo>
                    <a:lnTo>
                      <a:pt x="270" y="247"/>
                    </a:lnTo>
                    <a:lnTo>
                      <a:pt x="267" y="241"/>
                    </a:lnTo>
                    <a:lnTo>
                      <a:pt x="264" y="234"/>
                    </a:lnTo>
                    <a:lnTo>
                      <a:pt x="264" y="227"/>
                    </a:lnTo>
                    <a:lnTo>
                      <a:pt x="264" y="204"/>
                    </a:lnTo>
                    <a:lnTo>
                      <a:pt x="263" y="200"/>
                    </a:lnTo>
                    <a:lnTo>
                      <a:pt x="260" y="197"/>
                    </a:lnTo>
                    <a:lnTo>
                      <a:pt x="256" y="194"/>
                    </a:lnTo>
                    <a:lnTo>
                      <a:pt x="251" y="193"/>
                    </a:lnTo>
                    <a:lnTo>
                      <a:pt x="32" y="193"/>
                    </a:lnTo>
                    <a:lnTo>
                      <a:pt x="127" y="24"/>
                    </a:lnTo>
                    <a:lnTo>
                      <a:pt x="191" y="24"/>
                    </a:lnTo>
                    <a:lnTo>
                      <a:pt x="196" y="23"/>
                    </a:lnTo>
                    <a:lnTo>
                      <a:pt x="200" y="21"/>
                    </a:lnTo>
                    <a:lnTo>
                      <a:pt x="202" y="17"/>
                    </a:lnTo>
                    <a:lnTo>
                      <a:pt x="204" y="13"/>
                    </a:lnTo>
                    <a:lnTo>
                      <a:pt x="202" y="8"/>
                    </a:lnTo>
                    <a:lnTo>
                      <a:pt x="200" y="4"/>
                    </a:lnTo>
                    <a:lnTo>
                      <a:pt x="196" y="1"/>
                    </a:lnTo>
                    <a:lnTo>
                      <a:pt x="191" y="0"/>
                    </a:lnTo>
                    <a:lnTo>
                      <a:pt x="119" y="0"/>
                    </a:lnTo>
                    <a:lnTo>
                      <a:pt x="116" y="1"/>
                    </a:lnTo>
                    <a:lnTo>
                      <a:pt x="114" y="3"/>
                    </a:lnTo>
                    <a:lnTo>
                      <a:pt x="111" y="4"/>
                    </a:lnTo>
                    <a:lnTo>
                      <a:pt x="109" y="6"/>
                    </a:lnTo>
                    <a:lnTo>
                      <a:pt x="1" y="199"/>
                    </a:lnTo>
                    <a:lnTo>
                      <a:pt x="1" y="199"/>
                    </a:lnTo>
                    <a:lnTo>
                      <a:pt x="1" y="199"/>
                    </a:lnTo>
                    <a:lnTo>
                      <a:pt x="0" y="200"/>
                    </a:lnTo>
                    <a:lnTo>
                      <a:pt x="0" y="202"/>
                    </a:lnTo>
                    <a:lnTo>
                      <a:pt x="0" y="203"/>
                    </a:lnTo>
                    <a:lnTo>
                      <a:pt x="0" y="204"/>
                    </a:lnTo>
                    <a:lnTo>
                      <a:pt x="0" y="204"/>
                    </a:lnTo>
                    <a:lnTo>
                      <a:pt x="0" y="204"/>
                    </a:lnTo>
                    <a:lnTo>
                      <a:pt x="0" y="396"/>
                    </a:lnTo>
                    <a:lnTo>
                      <a:pt x="0" y="401"/>
                    </a:lnTo>
                    <a:lnTo>
                      <a:pt x="2" y="405"/>
                    </a:lnTo>
                    <a:lnTo>
                      <a:pt x="6" y="407"/>
                    </a:lnTo>
                    <a:lnTo>
                      <a:pt x="11" y="408"/>
                    </a:lnTo>
                    <a:lnTo>
                      <a:pt x="708" y="408"/>
                    </a:lnTo>
                    <a:lnTo>
                      <a:pt x="714" y="407"/>
                    </a:lnTo>
                    <a:lnTo>
                      <a:pt x="716" y="405"/>
                    </a:lnTo>
                    <a:lnTo>
                      <a:pt x="719" y="401"/>
                    </a:lnTo>
                    <a:lnTo>
                      <a:pt x="720" y="397"/>
                    </a:lnTo>
                    <a:lnTo>
                      <a:pt x="720" y="204"/>
                    </a:lnTo>
                    <a:lnTo>
                      <a:pt x="720" y="204"/>
                    </a:lnTo>
                    <a:lnTo>
                      <a:pt x="720" y="204"/>
                    </a:lnTo>
                    <a:lnTo>
                      <a:pt x="720" y="203"/>
                    </a:lnTo>
                    <a:lnTo>
                      <a:pt x="720" y="2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0" name="Freeform 3557">
                <a:extLst>
                  <a:ext uri="{FF2B5EF4-FFF2-40B4-BE49-F238E27FC236}">
                    <a16:creationId xmlns:a16="http://schemas.microsoft.com/office/drawing/2014/main" xmlns="" id="{C8E4BC88-BFE1-4DF7-AAF0-1E9E82053F2F}"/>
                  </a:ext>
                </a:extLst>
              </p:cNvPr>
              <p:cNvSpPr>
                <a:spLocks/>
              </p:cNvSpPr>
              <p:nvPr/>
            </p:nvSpPr>
            <p:spPr bwMode="auto">
              <a:xfrm>
                <a:off x="8836025" y="1347788"/>
                <a:ext cx="188912" cy="173038"/>
              </a:xfrm>
              <a:custGeom>
                <a:avLst/>
                <a:gdLst>
                  <a:gd name="T0" fmla="*/ 11 w 478"/>
                  <a:gd name="T1" fmla="*/ 434 h 434"/>
                  <a:gd name="T2" fmla="*/ 16 w 478"/>
                  <a:gd name="T3" fmla="*/ 432 h 434"/>
                  <a:gd name="T4" fmla="*/ 22 w 478"/>
                  <a:gd name="T5" fmla="*/ 427 h 434"/>
                  <a:gd name="T6" fmla="*/ 26 w 478"/>
                  <a:gd name="T7" fmla="*/ 414 h 434"/>
                  <a:gd name="T8" fmla="*/ 43 w 478"/>
                  <a:gd name="T9" fmla="*/ 373 h 434"/>
                  <a:gd name="T10" fmla="*/ 64 w 478"/>
                  <a:gd name="T11" fmla="*/ 336 h 434"/>
                  <a:gd name="T12" fmla="*/ 97 w 478"/>
                  <a:gd name="T13" fmla="*/ 296 h 434"/>
                  <a:gd name="T14" fmla="*/ 127 w 478"/>
                  <a:gd name="T15" fmla="*/ 267 h 434"/>
                  <a:gd name="T16" fmla="*/ 153 w 478"/>
                  <a:gd name="T17" fmla="*/ 250 h 434"/>
                  <a:gd name="T18" fmla="*/ 181 w 478"/>
                  <a:gd name="T19" fmla="*/ 233 h 434"/>
                  <a:gd name="T20" fmla="*/ 213 w 478"/>
                  <a:gd name="T21" fmla="*/ 220 h 434"/>
                  <a:gd name="T22" fmla="*/ 248 w 478"/>
                  <a:gd name="T23" fmla="*/ 211 h 434"/>
                  <a:gd name="T24" fmla="*/ 288 w 478"/>
                  <a:gd name="T25" fmla="*/ 205 h 434"/>
                  <a:gd name="T26" fmla="*/ 310 w 478"/>
                  <a:gd name="T27" fmla="*/ 253 h 434"/>
                  <a:gd name="T28" fmla="*/ 312 w 478"/>
                  <a:gd name="T29" fmla="*/ 259 h 434"/>
                  <a:gd name="T30" fmla="*/ 317 w 478"/>
                  <a:gd name="T31" fmla="*/ 263 h 434"/>
                  <a:gd name="T32" fmla="*/ 324 w 478"/>
                  <a:gd name="T33" fmla="*/ 264 h 434"/>
                  <a:gd name="T34" fmla="*/ 330 w 478"/>
                  <a:gd name="T35" fmla="*/ 262 h 434"/>
                  <a:gd name="T36" fmla="*/ 477 w 478"/>
                  <a:gd name="T37" fmla="*/ 138 h 434"/>
                  <a:gd name="T38" fmla="*/ 477 w 478"/>
                  <a:gd name="T39" fmla="*/ 128 h 434"/>
                  <a:gd name="T40" fmla="*/ 330 w 478"/>
                  <a:gd name="T41" fmla="*/ 2 h 434"/>
                  <a:gd name="T42" fmla="*/ 324 w 478"/>
                  <a:gd name="T43" fmla="*/ 0 h 434"/>
                  <a:gd name="T44" fmla="*/ 317 w 478"/>
                  <a:gd name="T45" fmla="*/ 1 h 434"/>
                  <a:gd name="T46" fmla="*/ 312 w 478"/>
                  <a:gd name="T47" fmla="*/ 6 h 434"/>
                  <a:gd name="T48" fmla="*/ 310 w 478"/>
                  <a:gd name="T49" fmla="*/ 12 h 434"/>
                  <a:gd name="T50" fmla="*/ 283 w 478"/>
                  <a:gd name="T51" fmla="*/ 62 h 434"/>
                  <a:gd name="T52" fmla="*/ 233 w 478"/>
                  <a:gd name="T53" fmla="*/ 71 h 434"/>
                  <a:gd name="T54" fmla="*/ 190 w 478"/>
                  <a:gd name="T55" fmla="*/ 87 h 434"/>
                  <a:gd name="T56" fmla="*/ 152 w 478"/>
                  <a:gd name="T57" fmla="*/ 107 h 434"/>
                  <a:gd name="T58" fmla="*/ 120 w 478"/>
                  <a:gd name="T59" fmla="*/ 133 h 434"/>
                  <a:gd name="T60" fmla="*/ 93 w 478"/>
                  <a:gd name="T61" fmla="*/ 161 h 434"/>
                  <a:gd name="T62" fmla="*/ 70 w 478"/>
                  <a:gd name="T63" fmla="*/ 193 h 434"/>
                  <a:gd name="T64" fmla="*/ 50 w 478"/>
                  <a:gd name="T65" fmla="*/ 226 h 434"/>
                  <a:gd name="T66" fmla="*/ 30 w 478"/>
                  <a:gd name="T67" fmla="*/ 276 h 434"/>
                  <a:gd name="T68" fmla="*/ 12 w 478"/>
                  <a:gd name="T69" fmla="*/ 337 h 434"/>
                  <a:gd name="T70" fmla="*/ 0 w 478"/>
                  <a:gd name="T71" fmla="*/ 404 h 434"/>
                  <a:gd name="T72" fmla="*/ 0 w 478"/>
                  <a:gd name="T73" fmla="*/ 425 h 434"/>
                  <a:gd name="T74" fmla="*/ 5 w 478"/>
                  <a:gd name="T75" fmla="*/ 431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8" h="434">
                    <a:moveTo>
                      <a:pt x="11" y="432"/>
                    </a:moveTo>
                    <a:lnTo>
                      <a:pt x="11" y="434"/>
                    </a:lnTo>
                    <a:lnTo>
                      <a:pt x="12" y="434"/>
                    </a:lnTo>
                    <a:lnTo>
                      <a:pt x="16" y="432"/>
                    </a:lnTo>
                    <a:lnTo>
                      <a:pt x="20" y="431"/>
                    </a:lnTo>
                    <a:lnTo>
                      <a:pt x="22" y="427"/>
                    </a:lnTo>
                    <a:lnTo>
                      <a:pt x="23" y="423"/>
                    </a:lnTo>
                    <a:lnTo>
                      <a:pt x="26" y="414"/>
                    </a:lnTo>
                    <a:lnTo>
                      <a:pt x="35" y="390"/>
                    </a:lnTo>
                    <a:lnTo>
                      <a:pt x="43" y="373"/>
                    </a:lnTo>
                    <a:lnTo>
                      <a:pt x="53" y="355"/>
                    </a:lnTo>
                    <a:lnTo>
                      <a:pt x="64" y="336"/>
                    </a:lnTo>
                    <a:lnTo>
                      <a:pt x="79" y="315"/>
                    </a:lnTo>
                    <a:lnTo>
                      <a:pt x="97" y="296"/>
                    </a:lnTo>
                    <a:lnTo>
                      <a:pt x="116" y="276"/>
                    </a:lnTo>
                    <a:lnTo>
                      <a:pt x="127" y="267"/>
                    </a:lnTo>
                    <a:lnTo>
                      <a:pt x="139" y="258"/>
                    </a:lnTo>
                    <a:lnTo>
                      <a:pt x="153" y="250"/>
                    </a:lnTo>
                    <a:lnTo>
                      <a:pt x="166" y="241"/>
                    </a:lnTo>
                    <a:lnTo>
                      <a:pt x="181" y="233"/>
                    </a:lnTo>
                    <a:lnTo>
                      <a:pt x="197" y="227"/>
                    </a:lnTo>
                    <a:lnTo>
                      <a:pt x="213" y="220"/>
                    </a:lnTo>
                    <a:lnTo>
                      <a:pt x="230" y="215"/>
                    </a:lnTo>
                    <a:lnTo>
                      <a:pt x="248" y="211"/>
                    </a:lnTo>
                    <a:lnTo>
                      <a:pt x="269" y="208"/>
                    </a:lnTo>
                    <a:lnTo>
                      <a:pt x="288" y="205"/>
                    </a:lnTo>
                    <a:lnTo>
                      <a:pt x="310" y="204"/>
                    </a:lnTo>
                    <a:lnTo>
                      <a:pt x="310" y="253"/>
                    </a:lnTo>
                    <a:lnTo>
                      <a:pt x="311" y="255"/>
                    </a:lnTo>
                    <a:lnTo>
                      <a:pt x="312" y="259"/>
                    </a:lnTo>
                    <a:lnTo>
                      <a:pt x="314" y="262"/>
                    </a:lnTo>
                    <a:lnTo>
                      <a:pt x="317" y="263"/>
                    </a:lnTo>
                    <a:lnTo>
                      <a:pt x="320" y="264"/>
                    </a:lnTo>
                    <a:lnTo>
                      <a:pt x="324" y="264"/>
                    </a:lnTo>
                    <a:lnTo>
                      <a:pt x="326" y="263"/>
                    </a:lnTo>
                    <a:lnTo>
                      <a:pt x="330" y="262"/>
                    </a:lnTo>
                    <a:lnTo>
                      <a:pt x="474" y="142"/>
                    </a:lnTo>
                    <a:lnTo>
                      <a:pt x="477" y="138"/>
                    </a:lnTo>
                    <a:lnTo>
                      <a:pt x="478" y="133"/>
                    </a:lnTo>
                    <a:lnTo>
                      <a:pt x="477" y="128"/>
                    </a:lnTo>
                    <a:lnTo>
                      <a:pt x="474" y="124"/>
                    </a:lnTo>
                    <a:lnTo>
                      <a:pt x="330" y="2"/>
                    </a:lnTo>
                    <a:lnTo>
                      <a:pt x="326" y="1"/>
                    </a:lnTo>
                    <a:lnTo>
                      <a:pt x="324" y="0"/>
                    </a:lnTo>
                    <a:lnTo>
                      <a:pt x="320" y="0"/>
                    </a:lnTo>
                    <a:lnTo>
                      <a:pt x="317" y="1"/>
                    </a:lnTo>
                    <a:lnTo>
                      <a:pt x="314" y="3"/>
                    </a:lnTo>
                    <a:lnTo>
                      <a:pt x="312" y="6"/>
                    </a:lnTo>
                    <a:lnTo>
                      <a:pt x="311" y="9"/>
                    </a:lnTo>
                    <a:lnTo>
                      <a:pt x="310" y="12"/>
                    </a:lnTo>
                    <a:lnTo>
                      <a:pt x="310" y="60"/>
                    </a:lnTo>
                    <a:lnTo>
                      <a:pt x="283" y="62"/>
                    </a:lnTo>
                    <a:lnTo>
                      <a:pt x="257" y="65"/>
                    </a:lnTo>
                    <a:lnTo>
                      <a:pt x="233" y="71"/>
                    </a:lnTo>
                    <a:lnTo>
                      <a:pt x="211" y="78"/>
                    </a:lnTo>
                    <a:lnTo>
                      <a:pt x="190" y="87"/>
                    </a:lnTo>
                    <a:lnTo>
                      <a:pt x="170" y="96"/>
                    </a:lnTo>
                    <a:lnTo>
                      <a:pt x="152" y="107"/>
                    </a:lnTo>
                    <a:lnTo>
                      <a:pt x="135" y="120"/>
                    </a:lnTo>
                    <a:lnTo>
                      <a:pt x="120" y="133"/>
                    </a:lnTo>
                    <a:lnTo>
                      <a:pt x="106" y="147"/>
                    </a:lnTo>
                    <a:lnTo>
                      <a:pt x="93" y="161"/>
                    </a:lnTo>
                    <a:lnTo>
                      <a:pt x="80" y="177"/>
                    </a:lnTo>
                    <a:lnTo>
                      <a:pt x="70" y="193"/>
                    </a:lnTo>
                    <a:lnTo>
                      <a:pt x="59" y="209"/>
                    </a:lnTo>
                    <a:lnTo>
                      <a:pt x="50" y="226"/>
                    </a:lnTo>
                    <a:lnTo>
                      <a:pt x="43" y="242"/>
                    </a:lnTo>
                    <a:lnTo>
                      <a:pt x="30" y="276"/>
                    </a:lnTo>
                    <a:lnTo>
                      <a:pt x="20" y="308"/>
                    </a:lnTo>
                    <a:lnTo>
                      <a:pt x="12" y="337"/>
                    </a:lnTo>
                    <a:lnTo>
                      <a:pt x="7" y="364"/>
                    </a:lnTo>
                    <a:lnTo>
                      <a:pt x="0" y="404"/>
                    </a:lnTo>
                    <a:lnTo>
                      <a:pt x="0" y="421"/>
                    </a:lnTo>
                    <a:lnTo>
                      <a:pt x="0" y="425"/>
                    </a:lnTo>
                    <a:lnTo>
                      <a:pt x="3" y="428"/>
                    </a:lnTo>
                    <a:lnTo>
                      <a:pt x="5" y="431"/>
                    </a:lnTo>
                    <a:lnTo>
                      <a:pt x="11"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grpSp>
          <p:nvGrpSpPr>
            <p:cNvPr id="51" name="Group 50">
              <a:extLst>
                <a:ext uri="{FF2B5EF4-FFF2-40B4-BE49-F238E27FC236}">
                  <a16:creationId xmlns:a16="http://schemas.microsoft.com/office/drawing/2014/main" xmlns="" id="{5DECB9C7-54E0-4C65-BD74-33AEF6954B01}"/>
                </a:ext>
              </a:extLst>
            </p:cNvPr>
            <p:cNvGrpSpPr/>
            <p:nvPr/>
          </p:nvGrpSpPr>
          <p:grpSpPr>
            <a:xfrm>
              <a:off x="4092684" y="5219822"/>
              <a:ext cx="278001" cy="320770"/>
              <a:chOff x="10475913" y="771525"/>
              <a:chExt cx="247650" cy="285750"/>
            </a:xfrm>
            <a:solidFill>
              <a:sysClr val="window" lastClr="FFFFFF"/>
            </a:solidFill>
          </p:grpSpPr>
          <p:sp>
            <p:nvSpPr>
              <p:cNvPr id="52" name="Freeform 3569">
                <a:extLst>
                  <a:ext uri="{FF2B5EF4-FFF2-40B4-BE49-F238E27FC236}">
                    <a16:creationId xmlns:a16="http://schemas.microsoft.com/office/drawing/2014/main" xmlns="" id="{21CA4454-4E70-4B5D-8D15-CFA506C7D799}"/>
                  </a:ext>
                </a:extLst>
              </p:cNvPr>
              <p:cNvSpPr>
                <a:spLocks/>
              </p:cNvSpPr>
              <p:nvPr/>
            </p:nvSpPr>
            <p:spPr bwMode="auto">
              <a:xfrm>
                <a:off x="10475913" y="847725"/>
                <a:ext cx="247650" cy="209550"/>
              </a:xfrm>
              <a:custGeom>
                <a:avLst/>
                <a:gdLst>
                  <a:gd name="T0" fmla="*/ 625 w 625"/>
                  <a:gd name="T1" fmla="*/ 59 h 528"/>
                  <a:gd name="T2" fmla="*/ 625 w 625"/>
                  <a:gd name="T3" fmla="*/ 59 h 528"/>
                  <a:gd name="T4" fmla="*/ 625 w 625"/>
                  <a:gd name="T5" fmla="*/ 59 h 528"/>
                  <a:gd name="T6" fmla="*/ 624 w 625"/>
                  <a:gd name="T7" fmla="*/ 58 h 528"/>
                  <a:gd name="T8" fmla="*/ 624 w 625"/>
                  <a:gd name="T9" fmla="*/ 56 h 528"/>
                  <a:gd name="T10" fmla="*/ 624 w 625"/>
                  <a:gd name="T11" fmla="*/ 56 h 528"/>
                  <a:gd name="T12" fmla="*/ 624 w 625"/>
                  <a:gd name="T13" fmla="*/ 56 h 528"/>
                  <a:gd name="T14" fmla="*/ 623 w 625"/>
                  <a:gd name="T15" fmla="*/ 53 h 528"/>
                  <a:gd name="T16" fmla="*/ 621 w 625"/>
                  <a:gd name="T17" fmla="*/ 52 h 528"/>
                  <a:gd name="T18" fmla="*/ 621 w 625"/>
                  <a:gd name="T19" fmla="*/ 52 h 528"/>
                  <a:gd name="T20" fmla="*/ 621 w 625"/>
                  <a:gd name="T21" fmla="*/ 52 h 528"/>
                  <a:gd name="T22" fmla="*/ 620 w 625"/>
                  <a:gd name="T23" fmla="*/ 50 h 528"/>
                  <a:gd name="T24" fmla="*/ 620 w 625"/>
                  <a:gd name="T25" fmla="*/ 50 h 528"/>
                  <a:gd name="T26" fmla="*/ 619 w 625"/>
                  <a:gd name="T27" fmla="*/ 49 h 528"/>
                  <a:gd name="T28" fmla="*/ 617 w 625"/>
                  <a:gd name="T29" fmla="*/ 49 h 528"/>
                  <a:gd name="T30" fmla="*/ 617 w 625"/>
                  <a:gd name="T31" fmla="*/ 49 h 528"/>
                  <a:gd name="T32" fmla="*/ 617 w 625"/>
                  <a:gd name="T33" fmla="*/ 49 h 528"/>
                  <a:gd name="T34" fmla="*/ 497 w 625"/>
                  <a:gd name="T35" fmla="*/ 0 h 528"/>
                  <a:gd name="T36" fmla="*/ 493 w 625"/>
                  <a:gd name="T37" fmla="*/ 0 h 528"/>
                  <a:gd name="T38" fmla="*/ 488 w 625"/>
                  <a:gd name="T39" fmla="*/ 0 h 528"/>
                  <a:gd name="T40" fmla="*/ 484 w 625"/>
                  <a:gd name="T41" fmla="*/ 3 h 528"/>
                  <a:gd name="T42" fmla="*/ 481 w 625"/>
                  <a:gd name="T43" fmla="*/ 8 h 528"/>
                  <a:gd name="T44" fmla="*/ 480 w 625"/>
                  <a:gd name="T45" fmla="*/ 12 h 528"/>
                  <a:gd name="T46" fmla="*/ 481 w 625"/>
                  <a:gd name="T47" fmla="*/ 17 h 528"/>
                  <a:gd name="T48" fmla="*/ 484 w 625"/>
                  <a:gd name="T49" fmla="*/ 21 h 528"/>
                  <a:gd name="T50" fmla="*/ 488 w 625"/>
                  <a:gd name="T51" fmla="*/ 24 h 528"/>
                  <a:gd name="T52" fmla="*/ 580 w 625"/>
                  <a:gd name="T53" fmla="*/ 59 h 528"/>
                  <a:gd name="T54" fmla="*/ 300 w 625"/>
                  <a:gd name="T55" fmla="*/ 167 h 528"/>
                  <a:gd name="T56" fmla="*/ 39 w 625"/>
                  <a:gd name="T57" fmla="*/ 61 h 528"/>
                  <a:gd name="T58" fmla="*/ 124 w 625"/>
                  <a:gd name="T59" fmla="*/ 24 h 528"/>
                  <a:gd name="T60" fmla="*/ 128 w 625"/>
                  <a:gd name="T61" fmla="*/ 20 h 528"/>
                  <a:gd name="T62" fmla="*/ 131 w 625"/>
                  <a:gd name="T63" fmla="*/ 16 h 528"/>
                  <a:gd name="T64" fmla="*/ 132 w 625"/>
                  <a:gd name="T65" fmla="*/ 12 h 528"/>
                  <a:gd name="T66" fmla="*/ 131 w 625"/>
                  <a:gd name="T67" fmla="*/ 7 h 528"/>
                  <a:gd name="T68" fmla="*/ 128 w 625"/>
                  <a:gd name="T69" fmla="*/ 3 h 528"/>
                  <a:gd name="T70" fmla="*/ 124 w 625"/>
                  <a:gd name="T71" fmla="*/ 0 h 528"/>
                  <a:gd name="T72" fmla="*/ 119 w 625"/>
                  <a:gd name="T73" fmla="*/ 0 h 528"/>
                  <a:gd name="T74" fmla="*/ 115 w 625"/>
                  <a:gd name="T75" fmla="*/ 0 h 528"/>
                  <a:gd name="T76" fmla="*/ 7 w 625"/>
                  <a:gd name="T77" fmla="*/ 49 h 528"/>
                  <a:gd name="T78" fmla="*/ 4 w 625"/>
                  <a:gd name="T79" fmla="*/ 52 h 528"/>
                  <a:gd name="T80" fmla="*/ 1 w 625"/>
                  <a:gd name="T81" fmla="*/ 54 h 528"/>
                  <a:gd name="T82" fmla="*/ 0 w 625"/>
                  <a:gd name="T83" fmla="*/ 57 h 528"/>
                  <a:gd name="T84" fmla="*/ 0 w 625"/>
                  <a:gd name="T85" fmla="*/ 61 h 528"/>
                  <a:gd name="T86" fmla="*/ 0 w 625"/>
                  <a:gd name="T87" fmla="*/ 62 h 528"/>
                  <a:gd name="T88" fmla="*/ 0 w 625"/>
                  <a:gd name="T89" fmla="*/ 62 h 528"/>
                  <a:gd name="T90" fmla="*/ 0 w 625"/>
                  <a:gd name="T91" fmla="*/ 360 h 528"/>
                  <a:gd name="T92" fmla="*/ 0 w 625"/>
                  <a:gd name="T93" fmla="*/ 364 h 528"/>
                  <a:gd name="T94" fmla="*/ 1 w 625"/>
                  <a:gd name="T95" fmla="*/ 366 h 528"/>
                  <a:gd name="T96" fmla="*/ 4 w 625"/>
                  <a:gd name="T97" fmla="*/ 369 h 528"/>
                  <a:gd name="T98" fmla="*/ 6 w 625"/>
                  <a:gd name="T99" fmla="*/ 372 h 528"/>
                  <a:gd name="T100" fmla="*/ 295 w 625"/>
                  <a:gd name="T101" fmla="*/ 527 h 528"/>
                  <a:gd name="T102" fmla="*/ 298 w 625"/>
                  <a:gd name="T103" fmla="*/ 528 h 528"/>
                  <a:gd name="T104" fmla="*/ 300 w 625"/>
                  <a:gd name="T105" fmla="*/ 528 h 528"/>
                  <a:gd name="T106" fmla="*/ 303 w 625"/>
                  <a:gd name="T107" fmla="*/ 528 h 528"/>
                  <a:gd name="T108" fmla="*/ 305 w 625"/>
                  <a:gd name="T109" fmla="*/ 527 h 528"/>
                  <a:gd name="T110" fmla="*/ 617 w 625"/>
                  <a:gd name="T111" fmla="*/ 372 h 528"/>
                  <a:gd name="T112" fmla="*/ 621 w 625"/>
                  <a:gd name="T113" fmla="*/ 369 h 528"/>
                  <a:gd name="T114" fmla="*/ 623 w 625"/>
                  <a:gd name="T115" fmla="*/ 366 h 528"/>
                  <a:gd name="T116" fmla="*/ 624 w 625"/>
                  <a:gd name="T117" fmla="*/ 364 h 528"/>
                  <a:gd name="T118" fmla="*/ 625 w 625"/>
                  <a:gd name="T119" fmla="*/ 360 h 528"/>
                  <a:gd name="T120" fmla="*/ 625 w 625"/>
                  <a:gd name="T121" fmla="*/ 59 h 528"/>
                  <a:gd name="T122" fmla="*/ 625 w 625"/>
                  <a:gd name="T123" fmla="*/ 59 h 528"/>
                  <a:gd name="T124" fmla="*/ 625 w 625"/>
                  <a:gd name="T125" fmla="*/ 59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25" h="528">
                    <a:moveTo>
                      <a:pt x="625" y="59"/>
                    </a:moveTo>
                    <a:lnTo>
                      <a:pt x="625" y="59"/>
                    </a:lnTo>
                    <a:lnTo>
                      <a:pt x="625" y="59"/>
                    </a:lnTo>
                    <a:lnTo>
                      <a:pt x="624" y="58"/>
                    </a:lnTo>
                    <a:lnTo>
                      <a:pt x="624" y="56"/>
                    </a:lnTo>
                    <a:lnTo>
                      <a:pt x="624" y="56"/>
                    </a:lnTo>
                    <a:lnTo>
                      <a:pt x="624" y="56"/>
                    </a:lnTo>
                    <a:lnTo>
                      <a:pt x="623" y="53"/>
                    </a:lnTo>
                    <a:lnTo>
                      <a:pt x="621" y="52"/>
                    </a:lnTo>
                    <a:lnTo>
                      <a:pt x="621" y="52"/>
                    </a:lnTo>
                    <a:lnTo>
                      <a:pt x="621" y="52"/>
                    </a:lnTo>
                    <a:lnTo>
                      <a:pt x="620" y="50"/>
                    </a:lnTo>
                    <a:lnTo>
                      <a:pt x="620" y="50"/>
                    </a:lnTo>
                    <a:lnTo>
                      <a:pt x="619" y="49"/>
                    </a:lnTo>
                    <a:lnTo>
                      <a:pt x="617" y="49"/>
                    </a:lnTo>
                    <a:lnTo>
                      <a:pt x="617" y="49"/>
                    </a:lnTo>
                    <a:lnTo>
                      <a:pt x="617" y="49"/>
                    </a:lnTo>
                    <a:lnTo>
                      <a:pt x="497" y="0"/>
                    </a:lnTo>
                    <a:lnTo>
                      <a:pt x="493" y="0"/>
                    </a:lnTo>
                    <a:lnTo>
                      <a:pt x="488" y="0"/>
                    </a:lnTo>
                    <a:lnTo>
                      <a:pt x="484" y="3"/>
                    </a:lnTo>
                    <a:lnTo>
                      <a:pt x="481" y="8"/>
                    </a:lnTo>
                    <a:lnTo>
                      <a:pt x="480" y="12"/>
                    </a:lnTo>
                    <a:lnTo>
                      <a:pt x="481" y="17"/>
                    </a:lnTo>
                    <a:lnTo>
                      <a:pt x="484" y="21"/>
                    </a:lnTo>
                    <a:lnTo>
                      <a:pt x="488" y="24"/>
                    </a:lnTo>
                    <a:lnTo>
                      <a:pt x="580" y="59"/>
                    </a:lnTo>
                    <a:lnTo>
                      <a:pt x="300" y="167"/>
                    </a:lnTo>
                    <a:lnTo>
                      <a:pt x="39" y="61"/>
                    </a:lnTo>
                    <a:lnTo>
                      <a:pt x="124" y="24"/>
                    </a:lnTo>
                    <a:lnTo>
                      <a:pt x="128" y="20"/>
                    </a:lnTo>
                    <a:lnTo>
                      <a:pt x="131" y="16"/>
                    </a:lnTo>
                    <a:lnTo>
                      <a:pt x="132" y="12"/>
                    </a:lnTo>
                    <a:lnTo>
                      <a:pt x="131" y="7"/>
                    </a:lnTo>
                    <a:lnTo>
                      <a:pt x="128" y="3"/>
                    </a:lnTo>
                    <a:lnTo>
                      <a:pt x="124" y="0"/>
                    </a:lnTo>
                    <a:lnTo>
                      <a:pt x="119" y="0"/>
                    </a:lnTo>
                    <a:lnTo>
                      <a:pt x="115" y="0"/>
                    </a:lnTo>
                    <a:lnTo>
                      <a:pt x="7" y="49"/>
                    </a:lnTo>
                    <a:lnTo>
                      <a:pt x="4" y="52"/>
                    </a:lnTo>
                    <a:lnTo>
                      <a:pt x="1" y="54"/>
                    </a:lnTo>
                    <a:lnTo>
                      <a:pt x="0" y="57"/>
                    </a:lnTo>
                    <a:lnTo>
                      <a:pt x="0" y="61"/>
                    </a:lnTo>
                    <a:lnTo>
                      <a:pt x="0" y="62"/>
                    </a:lnTo>
                    <a:lnTo>
                      <a:pt x="0" y="62"/>
                    </a:lnTo>
                    <a:lnTo>
                      <a:pt x="0" y="360"/>
                    </a:lnTo>
                    <a:lnTo>
                      <a:pt x="0" y="364"/>
                    </a:lnTo>
                    <a:lnTo>
                      <a:pt x="1" y="366"/>
                    </a:lnTo>
                    <a:lnTo>
                      <a:pt x="4" y="369"/>
                    </a:lnTo>
                    <a:lnTo>
                      <a:pt x="6" y="372"/>
                    </a:lnTo>
                    <a:lnTo>
                      <a:pt x="295" y="527"/>
                    </a:lnTo>
                    <a:lnTo>
                      <a:pt x="298" y="528"/>
                    </a:lnTo>
                    <a:lnTo>
                      <a:pt x="300" y="528"/>
                    </a:lnTo>
                    <a:lnTo>
                      <a:pt x="303" y="528"/>
                    </a:lnTo>
                    <a:lnTo>
                      <a:pt x="305" y="527"/>
                    </a:lnTo>
                    <a:lnTo>
                      <a:pt x="617" y="372"/>
                    </a:lnTo>
                    <a:lnTo>
                      <a:pt x="621" y="369"/>
                    </a:lnTo>
                    <a:lnTo>
                      <a:pt x="623" y="366"/>
                    </a:lnTo>
                    <a:lnTo>
                      <a:pt x="624" y="364"/>
                    </a:lnTo>
                    <a:lnTo>
                      <a:pt x="625" y="360"/>
                    </a:lnTo>
                    <a:lnTo>
                      <a:pt x="625" y="59"/>
                    </a:lnTo>
                    <a:lnTo>
                      <a:pt x="625" y="59"/>
                    </a:lnTo>
                    <a:lnTo>
                      <a:pt x="625"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sp>
            <p:nvSpPr>
              <p:cNvPr id="53" name="Freeform 3570">
                <a:extLst>
                  <a:ext uri="{FF2B5EF4-FFF2-40B4-BE49-F238E27FC236}">
                    <a16:creationId xmlns:a16="http://schemas.microsoft.com/office/drawing/2014/main" xmlns="" id="{6F233865-F8B6-4B73-9DB5-C6B941951A49}"/>
                  </a:ext>
                </a:extLst>
              </p:cNvPr>
              <p:cNvSpPr>
                <a:spLocks/>
              </p:cNvSpPr>
              <p:nvPr/>
            </p:nvSpPr>
            <p:spPr bwMode="auto">
              <a:xfrm>
                <a:off x="10542588" y="771525"/>
                <a:ext cx="106362" cy="104775"/>
              </a:xfrm>
              <a:custGeom>
                <a:avLst/>
                <a:gdLst>
                  <a:gd name="T0" fmla="*/ 124 w 267"/>
                  <a:gd name="T1" fmla="*/ 263 h 266"/>
                  <a:gd name="T2" fmla="*/ 128 w 267"/>
                  <a:gd name="T3" fmla="*/ 266 h 266"/>
                  <a:gd name="T4" fmla="*/ 133 w 267"/>
                  <a:gd name="T5" fmla="*/ 266 h 266"/>
                  <a:gd name="T6" fmla="*/ 137 w 267"/>
                  <a:gd name="T7" fmla="*/ 266 h 266"/>
                  <a:gd name="T8" fmla="*/ 141 w 267"/>
                  <a:gd name="T9" fmla="*/ 263 h 266"/>
                  <a:gd name="T10" fmla="*/ 263 w 267"/>
                  <a:gd name="T11" fmla="*/ 141 h 266"/>
                  <a:gd name="T12" fmla="*/ 266 w 267"/>
                  <a:gd name="T13" fmla="*/ 137 h 266"/>
                  <a:gd name="T14" fmla="*/ 267 w 267"/>
                  <a:gd name="T15" fmla="*/ 133 h 266"/>
                  <a:gd name="T16" fmla="*/ 266 w 267"/>
                  <a:gd name="T17" fmla="*/ 128 h 266"/>
                  <a:gd name="T18" fmla="*/ 263 w 267"/>
                  <a:gd name="T19" fmla="*/ 124 h 266"/>
                  <a:gd name="T20" fmla="*/ 259 w 267"/>
                  <a:gd name="T21" fmla="*/ 122 h 266"/>
                  <a:gd name="T22" fmla="*/ 254 w 267"/>
                  <a:gd name="T23" fmla="*/ 120 h 266"/>
                  <a:gd name="T24" fmla="*/ 250 w 267"/>
                  <a:gd name="T25" fmla="*/ 122 h 266"/>
                  <a:gd name="T26" fmla="*/ 246 w 267"/>
                  <a:gd name="T27" fmla="*/ 124 h 266"/>
                  <a:gd name="T28" fmla="*/ 144 w 267"/>
                  <a:gd name="T29" fmla="*/ 226 h 266"/>
                  <a:gd name="T30" fmla="*/ 144 w 267"/>
                  <a:gd name="T31" fmla="*/ 11 h 266"/>
                  <a:gd name="T32" fmla="*/ 144 w 267"/>
                  <a:gd name="T33" fmla="*/ 7 h 266"/>
                  <a:gd name="T34" fmla="*/ 141 w 267"/>
                  <a:gd name="T35" fmla="*/ 4 h 266"/>
                  <a:gd name="T36" fmla="*/ 137 w 267"/>
                  <a:gd name="T37" fmla="*/ 1 h 266"/>
                  <a:gd name="T38" fmla="*/ 132 w 267"/>
                  <a:gd name="T39" fmla="*/ 0 h 266"/>
                  <a:gd name="T40" fmla="*/ 127 w 267"/>
                  <a:gd name="T41" fmla="*/ 1 h 266"/>
                  <a:gd name="T42" fmla="*/ 123 w 267"/>
                  <a:gd name="T43" fmla="*/ 4 h 266"/>
                  <a:gd name="T44" fmla="*/ 121 w 267"/>
                  <a:gd name="T45" fmla="*/ 7 h 266"/>
                  <a:gd name="T46" fmla="*/ 121 w 267"/>
                  <a:gd name="T47" fmla="*/ 11 h 266"/>
                  <a:gd name="T48" fmla="*/ 121 w 267"/>
                  <a:gd name="T49" fmla="*/ 225 h 266"/>
                  <a:gd name="T50" fmla="*/ 20 w 267"/>
                  <a:gd name="T51" fmla="*/ 124 h 266"/>
                  <a:gd name="T52" fmla="*/ 17 w 267"/>
                  <a:gd name="T53" fmla="*/ 122 h 266"/>
                  <a:gd name="T54" fmla="*/ 11 w 267"/>
                  <a:gd name="T55" fmla="*/ 120 h 266"/>
                  <a:gd name="T56" fmla="*/ 8 w 267"/>
                  <a:gd name="T57" fmla="*/ 122 h 266"/>
                  <a:gd name="T58" fmla="*/ 4 w 267"/>
                  <a:gd name="T59" fmla="*/ 124 h 266"/>
                  <a:gd name="T60" fmla="*/ 1 w 267"/>
                  <a:gd name="T61" fmla="*/ 128 h 266"/>
                  <a:gd name="T62" fmla="*/ 0 w 267"/>
                  <a:gd name="T63" fmla="*/ 133 h 266"/>
                  <a:gd name="T64" fmla="*/ 1 w 267"/>
                  <a:gd name="T65" fmla="*/ 137 h 266"/>
                  <a:gd name="T66" fmla="*/ 4 w 267"/>
                  <a:gd name="T67" fmla="*/ 141 h 266"/>
                  <a:gd name="T68" fmla="*/ 124 w 267"/>
                  <a:gd name="T69" fmla="*/ 26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7" h="266">
                    <a:moveTo>
                      <a:pt x="124" y="263"/>
                    </a:moveTo>
                    <a:lnTo>
                      <a:pt x="128" y="266"/>
                    </a:lnTo>
                    <a:lnTo>
                      <a:pt x="133" y="266"/>
                    </a:lnTo>
                    <a:lnTo>
                      <a:pt x="137" y="266"/>
                    </a:lnTo>
                    <a:lnTo>
                      <a:pt x="141" y="263"/>
                    </a:lnTo>
                    <a:lnTo>
                      <a:pt x="263" y="141"/>
                    </a:lnTo>
                    <a:lnTo>
                      <a:pt x="266" y="137"/>
                    </a:lnTo>
                    <a:lnTo>
                      <a:pt x="267" y="133"/>
                    </a:lnTo>
                    <a:lnTo>
                      <a:pt x="266" y="128"/>
                    </a:lnTo>
                    <a:lnTo>
                      <a:pt x="263" y="124"/>
                    </a:lnTo>
                    <a:lnTo>
                      <a:pt x="259" y="122"/>
                    </a:lnTo>
                    <a:lnTo>
                      <a:pt x="254" y="120"/>
                    </a:lnTo>
                    <a:lnTo>
                      <a:pt x="250" y="122"/>
                    </a:lnTo>
                    <a:lnTo>
                      <a:pt x="246" y="124"/>
                    </a:lnTo>
                    <a:lnTo>
                      <a:pt x="144" y="226"/>
                    </a:lnTo>
                    <a:lnTo>
                      <a:pt x="144" y="11"/>
                    </a:lnTo>
                    <a:lnTo>
                      <a:pt x="144" y="7"/>
                    </a:lnTo>
                    <a:lnTo>
                      <a:pt x="141" y="4"/>
                    </a:lnTo>
                    <a:lnTo>
                      <a:pt x="137" y="1"/>
                    </a:lnTo>
                    <a:lnTo>
                      <a:pt x="132" y="0"/>
                    </a:lnTo>
                    <a:lnTo>
                      <a:pt x="127" y="1"/>
                    </a:lnTo>
                    <a:lnTo>
                      <a:pt x="123" y="4"/>
                    </a:lnTo>
                    <a:lnTo>
                      <a:pt x="121" y="7"/>
                    </a:lnTo>
                    <a:lnTo>
                      <a:pt x="121" y="11"/>
                    </a:lnTo>
                    <a:lnTo>
                      <a:pt x="121" y="225"/>
                    </a:lnTo>
                    <a:lnTo>
                      <a:pt x="20" y="124"/>
                    </a:lnTo>
                    <a:lnTo>
                      <a:pt x="17" y="122"/>
                    </a:lnTo>
                    <a:lnTo>
                      <a:pt x="11" y="120"/>
                    </a:lnTo>
                    <a:lnTo>
                      <a:pt x="8" y="122"/>
                    </a:lnTo>
                    <a:lnTo>
                      <a:pt x="4" y="124"/>
                    </a:lnTo>
                    <a:lnTo>
                      <a:pt x="1" y="128"/>
                    </a:lnTo>
                    <a:lnTo>
                      <a:pt x="0" y="133"/>
                    </a:lnTo>
                    <a:lnTo>
                      <a:pt x="1" y="137"/>
                    </a:lnTo>
                    <a:lnTo>
                      <a:pt x="4" y="141"/>
                    </a:lnTo>
                    <a:lnTo>
                      <a:pt x="124"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prstClr val="black"/>
                  </a:solidFill>
                  <a:effectLst/>
                  <a:uLnTx/>
                  <a:uFillTx/>
                  <a:latin typeface="Segoe UI"/>
                </a:endParaRPr>
              </a:p>
            </p:txBody>
          </p:sp>
        </p:grpSp>
        <p:sp>
          <p:nvSpPr>
            <p:cNvPr id="2" name="TextBox 1"/>
            <p:cNvSpPr txBox="1"/>
            <p:nvPr/>
          </p:nvSpPr>
          <p:spPr>
            <a:xfrm>
              <a:off x="5680661" y="3071077"/>
              <a:ext cx="891348" cy="875180"/>
            </a:xfrm>
            <a:prstGeom prst="rect">
              <a:avLst/>
            </a:prstGeom>
            <a:noFill/>
          </p:spPr>
          <p:txBody>
            <a:bodyPr wrap="square" rtlCol="0">
              <a:spAutoFit/>
            </a:bodyPr>
            <a:lstStyle/>
            <a:p>
              <a:pPr algn="ctr"/>
              <a:r>
                <a:rPr lang="en-ZA" sz="1400" dirty="0"/>
                <a:t>1. </a:t>
              </a:r>
            </a:p>
            <a:p>
              <a:pPr algn="ctr"/>
              <a:r>
                <a:rPr lang="en-ZA" sz="1400" dirty="0"/>
                <a:t>Improved safety and security</a:t>
              </a:r>
            </a:p>
          </p:txBody>
        </p:sp>
        <p:sp>
          <p:nvSpPr>
            <p:cNvPr id="54" name="TextBox 53"/>
            <p:cNvSpPr txBox="1"/>
            <p:nvPr/>
          </p:nvSpPr>
          <p:spPr>
            <a:xfrm>
              <a:off x="4648121" y="3619192"/>
              <a:ext cx="1047213" cy="677559"/>
            </a:xfrm>
            <a:prstGeom prst="rect">
              <a:avLst/>
            </a:prstGeom>
            <a:noFill/>
          </p:spPr>
          <p:txBody>
            <a:bodyPr wrap="square" rtlCol="0">
              <a:spAutoFit/>
            </a:bodyPr>
            <a:lstStyle/>
            <a:p>
              <a:pPr algn="ctr"/>
              <a:r>
                <a:rPr lang="en-ZA" sz="1400" dirty="0"/>
                <a:t>2</a:t>
              </a:r>
              <a:r>
                <a:rPr lang="en-ZA" sz="1400" dirty="0" smtClean="0"/>
                <a:t>. Improved case management</a:t>
              </a:r>
              <a:endParaRPr lang="en-ZA" sz="1400" dirty="0"/>
            </a:p>
          </p:txBody>
        </p:sp>
        <p:sp>
          <p:nvSpPr>
            <p:cNvPr id="55" name="TextBox 54"/>
            <p:cNvSpPr txBox="1"/>
            <p:nvPr/>
          </p:nvSpPr>
          <p:spPr>
            <a:xfrm>
              <a:off x="4622831" y="4404937"/>
              <a:ext cx="1140469" cy="875180"/>
            </a:xfrm>
            <a:prstGeom prst="rect">
              <a:avLst/>
            </a:prstGeom>
            <a:noFill/>
          </p:spPr>
          <p:txBody>
            <a:bodyPr wrap="square" rtlCol="0">
              <a:spAutoFit/>
            </a:bodyPr>
            <a:lstStyle/>
            <a:p>
              <a:pPr algn="ctr"/>
              <a:r>
                <a:rPr lang="en-ZA" sz="1400" dirty="0" smtClean="0"/>
                <a:t>3. </a:t>
              </a:r>
            </a:p>
            <a:p>
              <a:pPr algn="ctr"/>
              <a:r>
                <a:rPr lang="en-ZA" sz="1400" dirty="0" smtClean="0"/>
                <a:t>Increased needs based rehabilitation</a:t>
              </a:r>
              <a:endParaRPr lang="en-ZA" sz="1400" dirty="0"/>
            </a:p>
          </p:txBody>
        </p:sp>
        <p:sp>
          <p:nvSpPr>
            <p:cNvPr id="56" name="TextBox 55"/>
            <p:cNvSpPr txBox="1"/>
            <p:nvPr/>
          </p:nvSpPr>
          <p:spPr>
            <a:xfrm>
              <a:off x="5504422" y="5104321"/>
              <a:ext cx="1199409" cy="677559"/>
            </a:xfrm>
            <a:prstGeom prst="rect">
              <a:avLst/>
            </a:prstGeom>
            <a:noFill/>
          </p:spPr>
          <p:txBody>
            <a:bodyPr wrap="square" rtlCol="0">
              <a:spAutoFit/>
            </a:bodyPr>
            <a:lstStyle/>
            <a:p>
              <a:pPr algn="ctr"/>
              <a:r>
                <a:rPr lang="en-ZA" sz="1400" dirty="0"/>
                <a:t>4. </a:t>
              </a:r>
            </a:p>
            <a:p>
              <a:pPr algn="ctr"/>
              <a:r>
                <a:rPr lang="en-ZA" sz="1400" dirty="0"/>
                <a:t>Successful reintegration</a:t>
              </a:r>
            </a:p>
          </p:txBody>
        </p:sp>
        <p:sp>
          <p:nvSpPr>
            <p:cNvPr id="57" name="TextBox 56"/>
            <p:cNvSpPr txBox="1"/>
            <p:nvPr/>
          </p:nvSpPr>
          <p:spPr>
            <a:xfrm>
              <a:off x="6386564" y="4443398"/>
              <a:ext cx="1240055" cy="875180"/>
            </a:xfrm>
            <a:prstGeom prst="rect">
              <a:avLst/>
            </a:prstGeom>
            <a:noFill/>
          </p:spPr>
          <p:txBody>
            <a:bodyPr wrap="square" rtlCol="0">
              <a:spAutoFit/>
            </a:bodyPr>
            <a:lstStyle/>
            <a:p>
              <a:pPr algn="ctr"/>
              <a:r>
                <a:rPr lang="en-ZA" sz="1400" dirty="0"/>
                <a:t>5. </a:t>
              </a:r>
            </a:p>
            <a:p>
              <a:pPr algn="ctr"/>
              <a:r>
                <a:rPr lang="en-ZA" sz="1400" dirty="0"/>
                <a:t>Healthy</a:t>
              </a:r>
            </a:p>
            <a:p>
              <a:pPr algn="ctr"/>
              <a:r>
                <a:rPr lang="en-ZA" sz="1400" dirty="0"/>
                <a:t>incarcerated population</a:t>
              </a:r>
            </a:p>
          </p:txBody>
        </p:sp>
        <p:sp>
          <p:nvSpPr>
            <p:cNvPr id="58" name="TextBox 57"/>
            <p:cNvSpPr txBox="1"/>
            <p:nvPr/>
          </p:nvSpPr>
          <p:spPr>
            <a:xfrm>
              <a:off x="6514259" y="3142977"/>
              <a:ext cx="1083103" cy="1072801"/>
            </a:xfrm>
            <a:prstGeom prst="rect">
              <a:avLst/>
            </a:prstGeom>
            <a:noFill/>
          </p:spPr>
          <p:txBody>
            <a:bodyPr wrap="square" rtlCol="0">
              <a:spAutoFit/>
            </a:bodyPr>
            <a:lstStyle/>
            <a:p>
              <a:pPr algn="ctr"/>
              <a:r>
                <a:rPr lang="en-ZA" sz="1400" b="1" dirty="0">
                  <a:solidFill>
                    <a:srgbClr val="548235"/>
                  </a:solidFill>
                </a:rPr>
                <a:t>6. </a:t>
              </a:r>
            </a:p>
            <a:p>
              <a:pPr algn="ctr"/>
              <a:r>
                <a:rPr lang="en-ZA" sz="1400" b="1" dirty="0">
                  <a:solidFill>
                    <a:srgbClr val="548235"/>
                  </a:solidFill>
                </a:rPr>
                <a:t>High performing ethical  organisation</a:t>
              </a:r>
            </a:p>
          </p:txBody>
        </p:sp>
      </p:grpSp>
    </p:spTree>
    <p:extLst>
      <p:ext uri="{BB962C8B-B14F-4D97-AF65-F5344CB8AC3E}">
        <p14:creationId xmlns:p14="http://schemas.microsoft.com/office/powerpoint/2010/main" val="53515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000" dirty="0" smtClean="0">
                <a:solidFill>
                  <a:srgbClr val="000000"/>
                </a:solidFill>
                <a:latin typeface="Georgia"/>
              </a:rPr>
              <a:t>Contextual issues for 2021 MTEF</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5" name="TextBox 4"/>
          <p:cNvSpPr txBox="1"/>
          <p:nvPr/>
        </p:nvSpPr>
        <p:spPr>
          <a:xfrm>
            <a:off x="614400" y="1208581"/>
            <a:ext cx="5398750" cy="5339795"/>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a:solidFill>
                  <a:schemeClr val="tx1"/>
                </a:solidFill>
                <a:latin typeface="Calibri Light"/>
                <a:cs typeface="Calibri Light"/>
              </a:rPr>
              <a:t>Contextual </a:t>
            </a:r>
            <a:r>
              <a:rPr lang="en-ZA" sz="2799" b="1" dirty="0" smtClean="0">
                <a:solidFill>
                  <a:schemeClr val="tx1"/>
                </a:solidFill>
                <a:latin typeface="Calibri Light"/>
                <a:cs typeface="Calibri Light"/>
              </a:rPr>
              <a:t>Issu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dirty="0">
              <a:latin typeface="Calibri Light" panose="020F0302020204030204" pitchFamily="34" charset="0"/>
              <a:ea typeface="Calibri"/>
              <a:cs typeface="Calibri Light" panose="020F0302020204030204" pitchFamily="34" charset="0"/>
            </a:endParaRP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Proposed budget cuts by NT</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Implications of Covid-19 on the operating environment (demand for health care servic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Low economic growth (GDP contract by 7.3% in 2020)</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rime trends (upward trend of serious crime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apacity constrains (officials in isolation, quarantine and rotation)</a:t>
            </a:r>
          </a:p>
          <a:p>
            <a:pPr marL="342900" lvl="0" indent="-342900">
              <a:spcBef>
                <a:spcPts val="300"/>
              </a:spcBef>
              <a:spcAft>
                <a:spcPts val="300"/>
              </a:spcAft>
              <a:buClr>
                <a:srgbClr val="000000"/>
              </a:buClr>
              <a:buFont typeface="Arial" panose="020B0604020202020204" pitchFamily="34" charset="0"/>
              <a:buChar char="•"/>
            </a:pPr>
            <a:r>
              <a:rPr lang="en-ZA" sz="2000" kern="0" dirty="0">
                <a:solidFill>
                  <a:srgbClr val="000000"/>
                </a:solidFill>
                <a:latin typeface="Calibri Light" panose="020F0302020204030204" pitchFamily="34" charset="0"/>
                <a:ea typeface="Calibri"/>
                <a:cs typeface="Calibri Light" panose="020F0302020204030204" pitchFamily="34" charset="0"/>
                <a:sym typeface="Arial"/>
              </a:rPr>
              <a:t>Culture change (increasing use of technology)</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ther resource constrain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Overcrowding (slow CJS)</a:t>
            </a:r>
          </a:p>
          <a:p>
            <a:pPr marL="342831" indent="-342831">
              <a:spcBef>
                <a:spcPts val="400"/>
              </a:spcBef>
              <a:spcAft>
                <a:spcPts val="400"/>
              </a:spcAft>
              <a:buFont typeface="Arial" panose="020B0604020202020204" pitchFamily="34" charset="0"/>
              <a:buChar char="•"/>
            </a:pPr>
            <a:r>
              <a:rPr lang="en-ZA" sz="2000" dirty="0" smtClean="0">
                <a:latin typeface="Calibri Light" panose="020F0302020204030204" pitchFamily="34" charset="0"/>
                <a:ea typeface="Calibri"/>
                <a:cs typeface="Calibri Light" panose="020F0302020204030204" pitchFamily="34" charset="0"/>
              </a:rPr>
              <a:t>Current 2020/21 actual performance</a:t>
            </a:r>
            <a:endParaRPr lang="en-ZA" sz="2000" dirty="0">
              <a:latin typeface="Calibri Light" panose="020F0302020204030204" pitchFamily="34" charset="0"/>
              <a:ea typeface="Calibri"/>
              <a:cs typeface="Calibri Light" panose="020F0302020204030204" pitchFamily="34" charset="0"/>
            </a:endParaRPr>
          </a:p>
        </p:txBody>
      </p:sp>
      <p:sp>
        <p:nvSpPr>
          <p:cNvPr id="6" name="TextBox 5"/>
          <p:cNvSpPr txBox="1"/>
          <p:nvPr/>
        </p:nvSpPr>
        <p:spPr>
          <a:xfrm>
            <a:off x="6216787" y="1208579"/>
            <a:ext cx="5444077" cy="5328000"/>
          </a:xfrm>
          <a:prstGeom prst="rect">
            <a:avLst/>
          </a:prstGeom>
          <a:ln w="57150"/>
        </p:spPr>
        <p:style>
          <a:lnRef idx="2">
            <a:schemeClr val="accent6"/>
          </a:lnRef>
          <a:fillRef idx="1">
            <a:schemeClr val="lt1"/>
          </a:fillRef>
          <a:effectRef idx="0">
            <a:schemeClr val="accent6"/>
          </a:effectRef>
          <a:fontRef idx="minor">
            <a:schemeClr val="dk1"/>
          </a:fontRef>
        </p:style>
        <p:txBody>
          <a:bodyPr wrap="square" rtlCol="0">
            <a:spAutoFit/>
          </a:bodyPr>
          <a:lstStyle/>
          <a:p>
            <a:pPr lvl="0" algn="ctr"/>
            <a:r>
              <a:rPr lang="en-ZA" sz="2799" b="1" dirty="0" smtClean="0">
                <a:solidFill>
                  <a:schemeClr val="tx1"/>
                </a:solidFill>
                <a:latin typeface="Calibri Light"/>
                <a:cs typeface="Calibri Light"/>
              </a:rPr>
              <a:t>Opportunities </a:t>
            </a:r>
            <a:r>
              <a:rPr lang="en-ZA" sz="2799" b="1" dirty="0" smtClean="0">
                <a:solidFill>
                  <a:srgbClr val="FF0000"/>
                </a:solidFill>
                <a:latin typeface="Calibri Light"/>
                <a:cs typeface="Calibri Light"/>
              </a:rPr>
              <a:t>(examples)</a:t>
            </a:r>
            <a:endParaRPr lang="en-ZA" sz="2799" b="1" dirty="0">
              <a:solidFill>
                <a:srgbClr val="FF0000"/>
              </a:solidFill>
              <a:latin typeface="Calibri Light"/>
              <a:cs typeface="Calibri Light"/>
            </a:endParaRPr>
          </a:p>
          <a:p>
            <a:pPr lvl="0"/>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elf sufficiency</a:t>
            </a:r>
          </a:p>
          <a:p>
            <a:pPr marL="342831" indent="-342831">
              <a:spcBef>
                <a:spcPts val="600"/>
              </a:spcBef>
              <a:spcAft>
                <a:spcPts val="600"/>
              </a:spcAft>
              <a:buFont typeface="Arial" panose="020B0604020202020204" pitchFamily="34" charset="0"/>
              <a:buChar char="•"/>
            </a:pPr>
            <a:r>
              <a:rPr lang="en-US" sz="2000" dirty="0">
                <a:latin typeface="Calibri Light" panose="020F0302020204030204" pitchFamily="34" charset="0"/>
                <a:ea typeface="Calibri"/>
                <a:cs typeface="Calibri Light" panose="020F0302020204030204" pitchFamily="34" charset="0"/>
              </a:rPr>
              <a:t>Partnerships</a:t>
            </a:r>
            <a:endParaRPr lang="en-ZA" sz="2000" dirty="0">
              <a:latin typeface="Calibri Light" panose="020F0302020204030204" pitchFamily="34" charset="0"/>
              <a:ea typeface="Calibri"/>
              <a:cs typeface="Calibri Light" panose="020F0302020204030204" pitchFamily="34" charset="0"/>
            </a:endParaRP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Promote the option of community corrections as alternative sentenc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utomation</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Alternative modes of delivery</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Remote working</a:t>
            </a:r>
          </a:p>
          <a:p>
            <a:pPr marL="342831" indent="-342831">
              <a:spcBef>
                <a:spcPts val="600"/>
              </a:spcBef>
              <a:spcAft>
                <a:spcPts val="600"/>
              </a:spcAft>
              <a:buFont typeface="Arial" panose="020B0604020202020204" pitchFamily="34" charset="0"/>
              <a:buChar char="•"/>
            </a:pPr>
            <a:r>
              <a:rPr lang="en-ZA" sz="2000" dirty="0">
                <a:latin typeface="Calibri Light" panose="020F0302020204030204" pitchFamily="34" charset="0"/>
                <a:ea typeface="Calibri"/>
                <a:cs typeface="Calibri Light" panose="020F0302020204030204" pitchFamily="34" charset="0"/>
              </a:rPr>
              <a:t>Staff motivation</a:t>
            </a:r>
          </a:p>
        </p:txBody>
      </p:sp>
      <p:sp>
        <p:nvSpPr>
          <p:cNvPr id="7" name="Rounded Rectangle 6">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8" name="TextBox 7">
            <a:extLst>
              <a:ext uri="{FF2B5EF4-FFF2-40B4-BE49-F238E27FC236}">
                <a16:creationId xmlns="" xmlns:a16="http://schemas.microsoft.com/office/drawing/2014/main" id="{3D1D2E24-36FA-6149-B377-163EFDF93ABC}"/>
              </a:ext>
            </a:extLst>
          </p:cNvPr>
          <p:cNvSpPr txBox="1"/>
          <p:nvPr/>
        </p:nvSpPr>
        <p:spPr>
          <a:xfrm>
            <a:off x="989160" y="781970"/>
            <a:ext cx="6247212"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15" name="Straight Connector 14">
            <a:extLst>
              <a:ext uri="{FF2B5EF4-FFF2-40B4-BE49-F238E27FC236}">
                <a16:creationId xmlns="" xmlns:a16="http://schemas.microsoft.com/office/drawing/2014/main" id="{D4D9F918-F730-4449-AB3E-2E8143B1A414}"/>
              </a:ext>
            </a:extLst>
          </p:cNvPr>
          <p:cNvCxnSpPr>
            <a:cxnSpLocks/>
          </p:cNvCxnSpPr>
          <p:nvPr/>
        </p:nvCxnSpPr>
        <p:spPr>
          <a:xfrm>
            <a:off x="4820461" y="922564"/>
            <a:ext cx="7022965" cy="5346"/>
          </a:xfrm>
          <a:prstGeom prst="line">
            <a:avLst/>
          </a:prstGeom>
          <a:noFill/>
          <a:ln w="6350" cap="flat" cmpd="sng" algn="ctr">
            <a:solidFill>
              <a:srgbClr val="FFFFFF"/>
            </a:solidFill>
            <a:prstDash val="solid"/>
            <a:miter lim="800000"/>
          </a:ln>
          <a:effectLst/>
        </p:spPr>
      </p:cxnSp>
    </p:spTree>
    <p:extLst>
      <p:ext uri="{BB962C8B-B14F-4D97-AF65-F5344CB8AC3E}">
        <p14:creationId xmlns:p14="http://schemas.microsoft.com/office/powerpoint/2010/main" val="14310377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10" name="Rectangle 9">
            <a:extLst>
              <a:ext uri="{FF2B5EF4-FFF2-40B4-BE49-F238E27FC236}">
                <a16:creationId xmlns="" xmlns:a16="http://schemas.microsoft.com/office/drawing/2014/main" id="{F9EDA4DD-5668-4D40-9FD9-47B3AC01D45D}"/>
              </a:ext>
            </a:extLst>
          </p:cNvPr>
          <p:cNvSpPr/>
          <p:nvPr/>
        </p:nvSpPr>
        <p:spPr>
          <a:xfrm>
            <a:off x="0" y="0"/>
            <a:ext cx="12192000" cy="1080000"/>
          </a:xfrm>
          <a:prstGeom prst="rect">
            <a:avLst/>
          </a:prstGeom>
          <a:solidFill>
            <a:srgbClr val="548235">
              <a:alpha val="8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1" name="Rounded Rectangle 10">
            <a:extLst>
              <a:ext uri="{FF2B5EF4-FFF2-40B4-BE49-F238E27FC236}">
                <a16:creationId xmlns="" xmlns:a16="http://schemas.microsoft.com/office/drawing/2014/main" id="{3FF68B7E-2A3C-7445-840D-E03AC743B2BC}"/>
              </a:ext>
            </a:extLst>
          </p:cNvPr>
          <p:cNvSpPr/>
          <p:nvPr/>
        </p:nvSpPr>
        <p:spPr>
          <a:xfrm>
            <a:off x="718226" y="748723"/>
            <a:ext cx="11125200" cy="324000"/>
          </a:xfrm>
          <a:prstGeom prst="roundRect">
            <a:avLst>
              <a:gd name="adj" fmla="val 0"/>
            </a:avLst>
          </a:prstGeom>
          <a:solidFill>
            <a:srgbClr val="C7A96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Segoe UI Light"/>
            </a:endParaRPr>
          </a:p>
        </p:txBody>
      </p:sp>
      <p:sp>
        <p:nvSpPr>
          <p:cNvPr id="12" name="TextBox 11">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13" name="Straight Connector 12">
            <a:extLst>
              <a:ext uri="{FF2B5EF4-FFF2-40B4-BE49-F238E27FC236}">
                <a16:creationId xmlns="" xmlns:a16="http://schemas.microsoft.com/office/drawing/2014/main" id="{D4D9F918-F730-4449-AB3E-2E8143B1A414}"/>
              </a:ext>
            </a:extLst>
          </p:cNvPr>
          <p:cNvCxnSpPr>
            <a:cxnSpLocks/>
          </p:cNvCxnSpPr>
          <p:nvPr/>
        </p:nvCxnSpPr>
        <p:spPr>
          <a:xfrm>
            <a:off x="4818580" y="904126"/>
            <a:ext cx="7004298" cy="6598"/>
          </a:xfrm>
          <a:prstGeom prst="line">
            <a:avLst/>
          </a:prstGeom>
          <a:noFill/>
          <a:ln w="6350" cap="flat" cmpd="sng" algn="ctr">
            <a:solidFill>
              <a:srgbClr val="FFFFFF"/>
            </a:solidFill>
            <a:prstDash val="solid"/>
            <a:miter lim="800000"/>
          </a:ln>
          <a:effectLst/>
        </p:spPr>
      </p:cxnSp>
      <p:sp>
        <p:nvSpPr>
          <p:cNvPr id="14" name="Title 1">
            <a:extLst>
              <a:ext uri="{FF2B5EF4-FFF2-40B4-BE49-F238E27FC236}">
                <a16:creationId xmlns="" xmlns:a16="http://schemas.microsoft.com/office/drawing/2014/main" id="{4430A9AA-BB5E-FF43-8C3E-F42948508E5B}"/>
              </a:ext>
            </a:extLst>
          </p:cNvPr>
          <p:cNvSpPr txBox="1">
            <a:spLocks/>
          </p:cNvSpPr>
          <p:nvPr/>
        </p:nvSpPr>
        <p:spPr>
          <a:xfrm>
            <a:off x="718226" y="0"/>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Vision 2068</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15" name="Rounded Rectangle 14"/>
          <p:cNvSpPr/>
          <p:nvPr/>
        </p:nvSpPr>
        <p:spPr>
          <a:xfrm>
            <a:off x="343499" y="1191574"/>
            <a:ext cx="11315101" cy="5248818"/>
          </a:xfrm>
          <a:prstGeom prst="roundRect">
            <a:avLst>
              <a:gd name="adj" fmla="val 6565"/>
            </a:avLst>
          </a:prstGeom>
          <a:solidFill>
            <a:srgbClr val="548235"/>
          </a:solidFill>
          <a:ln>
            <a:noFill/>
          </a:ln>
          <a:effectLst>
            <a:outerShdw blurRad="203200" sx="103000" sy="103000" algn="ctr"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nvCxnSpPr>
        <p:spPr>
          <a:xfrm>
            <a:off x="4113304" y="1171860"/>
            <a:ext cx="3172" cy="5248818"/>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537189" y="4436069"/>
            <a:ext cx="3303492" cy="246221"/>
          </a:xfrm>
          <a:prstGeom prst="rect">
            <a:avLst/>
          </a:prstGeom>
          <a:noFill/>
        </p:spPr>
        <p:txBody>
          <a:bodyPr wrap="square" lIns="0" tIns="0" rIns="0" bIns="0" rtlCol="0">
            <a:spAutoFit/>
          </a:bodyPr>
          <a:lstStyle>
            <a:defPPr>
              <a:defRPr lang="en-US"/>
            </a:defPPr>
            <a:lvl1pPr marL="171450" indent="-171450">
              <a:buFont typeface="Arial" panose="020B0604020202020204" pitchFamily="34" charset="0"/>
              <a:buChar char="•"/>
              <a:defRPr sz="1600">
                <a:solidFill>
                  <a:schemeClr val="bg1"/>
                </a:solidFill>
                <a:latin typeface="+mj-lt"/>
                <a:ea typeface="Arial" charset="0"/>
                <a:cs typeface="Arial" charset="0"/>
              </a:defRPr>
            </a:lvl1pPr>
          </a:lstStyle>
          <a:p>
            <a:r>
              <a:rPr lang="en-US" dirty="0" err="1"/>
              <a:t>xxxx</a:t>
            </a:r>
            <a:endParaRPr lang="en-US" dirty="0"/>
          </a:p>
        </p:txBody>
      </p:sp>
      <p:sp>
        <p:nvSpPr>
          <p:cNvPr id="21" name="TextBox 20"/>
          <p:cNvSpPr txBox="1"/>
          <p:nvPr/>
        </p:nvSpPr>
        <p:spPr>
          <a:xfrm>
            <a:off x="576656" y="3851294"/>
            <a:ext cx="3303492" cy="246221"/>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Vision 2068 (Objectives for ICT)</a:t>
            </a:r>
            <a:endParaRPr lang="en-US" sz="1600" b="1" dirty="0">
              <a:solidFill>
                <a:srgbClr val="FFA6D4"/>
              </a:solidFill>
              <a:ea typeface="Arial" charset="0"/>
              <a:cs typeface="Arial" charset="0"/>
            </a:endParaRPr>
          </a:p>
        </p:txBody>
      </p:sp>
      <p:sp>
        <p:nvSpPr>
          <p:cNvPr id="22" name="TextBox 21"/>
          <p:cNvSpPr txBox="1"/>
          <p:nvPr/>
        </p:nvSpPr>
        <p:spPr>
          <a:xfrm>
            <a:off x="4400066" y="4062908"/>
            <a:ext cx="3303492" cy="246221"/>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600" dirty="0" err="1" smtClean="0">
                <a:solidFill>
                  <a:schemeClr val="bg1"/>
                </a:solidFill>
                <a:latin typeface="+mj-lt"/>
                <a:ea typeface="Arial" charset="0"/>
                <a:cs typeface="Arial" charset="0"/>
              </a:rPr>
              <a:t>xxxx</a:t>
            </a:r>
            <a:endParaRPr lang="en-US" sz="1600" dirty="0">
              <a:solidFill>
                <a:schemeClr val="bg1"/>
              </a:solidFill>
              <a:latin typeface="+mj-lt"/>
              <a:ea typeface="Arial" charset="0"/>
              <a:cs typeface="Arial" charset="0"/>
            </a:endParaRPr>
          </a:p>
        </p:txBody>
      </p:sp>
      <p:sp>
        <p:nvSpPr>
          <p:cNvPr id="23" name="TextBox 22"/>
          <p:cNvSpPr txBox="1"/>
          <p:nvPr/>
        </p:nvSpPr>
        <p:spPr>
          <a:xfrm>
            <a:off x="4527586" y="3733840"/>
            <a:ext cx="3303492" cy="246221"/>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have we achieved thus far</a:t>
            </a:r>
            <a:endParaRPr lang="en-US" sz="1600" b="1" dirty="0">
              <a:solidFill>
                <a:srgbClr val="FFA6D4"/>
              </a:solidFill>
              <a:ea typeface="Arial" charset="0"/>
              <a:cs typeface="Arial" charset="0"/>
            </a:endParaRPr>
          </a:p>
        </p:txBody>
      </p:sp>
      <p:sp>
        <p:nvSpPr>
          <p:cNvPr id="24" name="TextBox 23"/>
          <p:cNvSpPr txBox="1"/>
          <p:nvPr/>
        </p:nvSpPr>
        <p:spPr>
          <a:xfrm>
            <a:off x="8119108" y="4343737"/>
            <a:ext cx="3303492" cy="430887"/>
          </a:xfrm>
          <a:prstGeom prst="rect">
            <a:avLst/>
          </a:prstGeom>
          <a:noFill/>
        </p:spPr>
        <p:txBody>
          <a:bodyPr wrap="square" lIns="0" tIns="0" rIns="0" bIns="0" rtlCol="0">
            <a:spAutoFit/>
          </a:bodyPr>
          <a:lstStyle/>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What is the new thought process</a:t>
            </a:r>
          </a:p>
          <a:p>
            <a:pPr marL="171450" indent="-171450">
              <a:buFont typeface="Arial" panose="020B0604020202020204" pitchFamily="34" charset="0"/>
              <a:buChar char="•"/>
            </a:pPr>
            <a:r>
              <a:rPr lang="en-US" sz="1400" dirty="0" smtClean="0">
                <a:solidFill>
                  <a:schemeClr val="bg1"/>
                </a:solidFill>
                <a:latin typeface="+mj-lt"/>
                <a:ea typeface="Arial" charset="0"/>
                <a:cs typeface="Arial" charset="0"/>
              </a:rPr>
              <a:t>Key levers to be considered</a:t>
            </a:r>
            <a:endParaRPr lang="en-US" sz="1400" dirty="0">
              <a:solidFill>
                <a:schemeClr val="bg1"/>
              </a:solidFill>
              <a:latin typeface="+mj-lt"/>
              <a:ea typeface="Arial" charset="0"/>
              <a:cs typeface="Arial" charset="0"/>
            </a:endParaRPr>
          </a:p>
        </p:txBody>
      </p:sp>
      <p:sp>
        <p:nvSpPr>
          <p:cNvPr id="25" name="TextBox 24"/>
          <p:cNvSpPr txBox="1"/>
          <p:nvPr/>
        </p:nvSpPr>
        <p:spPr>
          <a:xfrm>
            <a:off x="8242188" y="3733839"/>
            <a:ext cx="3303492" cy="492443"/>
          </a:xfrm>
          <a:prstGeom prst="rect">
            <a:avLst/>
          </a:prstGeom>
          <a:noFill/>
        </p:spPr>
        <p:txBody>
          <a:bodyPr wrap="square" lIns="0" tIns="0" rIns="0" bIns="0" rtlCol="0">
            <a:spAutoFit/>
          </a:bodyPr>
          <a:lstStyle/>
          <a:p>
            <a:r>
              <a:rPr lang="en-US" sz="1600" b="1" dirty="0" smtClean="0">
                <a:solidFill>
                  <a:srgbClr val="FFA6D4"/>
                </a:solidFill>
                <a:ea typeface="Arial" charset="0"/>
                <a:cs typeface="Arial" charset="0"/>
              </a:rPr>
              <a:t>What do we still need to do to get there</a:t>
            </a:r>
            <a:endParaRPr lang="en-US" sz="1600" b="1" dirty="0">
              <a:solidFill>
                <a:srgbClr val="FFA6D4"/>
              </a:solidFill>
              <a:ea typeface="Arial" charset="0"/>
              <a:cs typeface="Arial" charset="0"/>
            </a:endParaRPr>
          </a:p>
        </p:txBody>
      </p:sp>
      <p:cxnSp>
        <p:nvCxnSpPr>
          <p:cNvPr id="26" name="Straight Connector 25"/>
          <p:cNvCxnSpPr/>
          <p:nvPr/>
        </p:nvCxnSpPr>
        <p:spPr>
          <a:xfrm flipH="1">
            <a:off x="7883101" y="1170124"/>
            <a:ext cx="1" cy="5250554"/>
          </a:xfrm>
          <a:prstGeom prst="line">
            <a:avLst/>
          </a:prstGeom>
          <a:ln>
            <a:solidFill>
              <a:srgbClr val="0F113B"/>
            </a:solidFill>
          </a:ln>
        </p:spPr>
        <p:style>
          <a:lnRef idx="1">
            <a:schemeClr val="accent1"/>
          </a:lnRef>
          <a:fillRef idx="0">
            <a:schemeClr val="accent1"/>
          </a:fillRef>
          <a:effectRef idx="0">
            <a:schemeClr val="accent1"/>
          </a:effectRef>
          <a:fontRef idx="minor">
            <a:schemeClr val="tx1"/>
          </a:fontRef>
        </p:style>
      </p:cxnSp>
      <p:sp>
        <p:nvSpPr>
          <p:cNvPr id="29" name="Round Single Corner Rectangle 28"/>
          <p:cNvSpPr/>
          <p:nvPr/>
        </p:nvSpPr>
        <p:spPr>
          <a:xfrm>
            <a:off x="7879930" y="1164583"/>
            <a:ext cx="3764327" cy="2517350"/>
          </a:xfrm>
          <a:prstGeom prst="round1Rect">
            <a:avLst/>
          </a:prstGeom>
          <a:blipFill>
            <a:blip r:embed="rId3"/>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0" name="Rectangle 29"/>
          <p:cNvSpPr/>
          <p:nvPr/>
        </p:nvSpPr>
        <p:spPr>
          <a:xfrm>
            <a:off x="4136296" y="1181702"/>
            <a:ext cx="3743633" cy="2499466"/>
          </a:xfrm>
          <a:prstGeom prst="rect">
            <a:avLst/>
          </a:prstGeom>
          <a:blipFill>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1" name="Round Same Side Corner Rectangle 5"/>
          <p:cNvSpPr/>
          <p:nvPr/>
        </p:nvSpPr>
        <p:spPr>
          <a:xfrm>
            <a:off x="341196" y="1175635"/>
            <a:ext cx="3775280" cy="2505533"/>
          </a:xfrm>
          <a:custGeom>
            <a:avLst/>
            <a:gdLst>
              <a:gd name="connsiteX0" fmla="*/ 418516 w 3645944"/>
              <a:gd name="connsiteY0" fmla="*/ 0 h 2511043"/>
              <a:gd name="connsiteX1" fmla="*/ 3227428 w 3645944"/>
              <a:gd name="connsiteY1" fmla="*/ 0 h 2511043"/>
              <a:gd name="connsiteX2" fmla="*/ 3645944 w 3645944"/>
              <a:gd name="connsiteY2" fmla="*/ 418516 h 2511043"/>
              <a:gd name="connsiteX3" fmla="*/ 3645944 w 3645944"/>
              <a:gd name="connsiteY3" fmla="*/ 2511043 h 2511043"/>
              <a:gd name="connsiteX4" fmla="*/ 3645944 w 3645944"/>
              <a:gd name="connsiteY4" fmla="*/ 2511043 h 2511043"/>
              <a:gd name="connsiteX5" fmla="*/ 0 w 3645944"/>
              <a:gd name="connsiteY5" fmla="*/ 2511043 h 2511043"/>
              <a:gd name="connsiteX6" fmla="*/ 0 w 3645944"/>
              <a:gd name="connsiteY6" fmla="*/ 2511043 h 2511043"/>
              <a:gd name="connsiteX7" fmla="*/ 0 w 3645944"/>
              <a:gd name="connsiteY7" fmla="*/ 418516 h 2511043"/>
              <a:gd name="connsiteX8" fmla="*/ 418516 w 3645944"/>
              <a:gd name="connsiteY8" fmla="*/ 0 h 2511043"/>
              <a:gd name="connsiteX0" fmla="*/ 418516 w 3666264"/>
              <a:gd name="connsiteY0" fmla="*/ 2051 h 2513094"/>
              <a:gd name="connsiteX1" fmla="*/ 32274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051 h 2513094"/>
              <a:gd name="connsiteX1" fmla="*/ 3430628 w 3666264"/>
              <a:gd name="connsiteY1" fmla="*/ 2051 h 2513094"/>
              <a:gd name="connsiteX2" fmla="*/ 3666264 w 3666264"/>
              <a:gd name="connsiteY2" fmla="*/ 197047 h 2513094"/>
              <a:gd name="connsiteX3" fmla="*/ 3645944 w 3666264"/>
              <a:gd name="connsiteY3" fmla="*/ 2513094 h 2513094"/>
              <a:gd name="connsiteX4" fmla="*/ 3645944 w 3666264"/>
              <a:gd name="connsiteY4" fmla="*/ 2513094 h 2513094"/>
              <a:gd name="connsiteX5" fmla="*/ 0 w 3666264"/>
              <a:gd name="connsiteY5" fmla="*/ 2513094 h 2513094"/>
              <a:gd name="connsiteX6" fmla="*/ 0 w 3666264"/>
              <a:gd name="connsiteY6" fmla="*/ 2513094 h 2513094"/>
              <a:gd name="connsiteX7" fmla="*/ 0 w 3666264"/>
              <a:gd name="connsiteY7" fmla="*/ 420567 h 2513094"/>
              <a:gd name="connsiteX8" fmla="*/ 418516 w 3666264"/>
              <a:gd name="connsiteY8" fmla="*/ 2051 h 2513094"/>
              <a:gd name="connsiteX0" fmla="*/ 418516 w 3666264"/>
              <a:gd name="connsiteY0" fmla="*/ 230 h 2511273"/>
              <a:gd name="connsiteX1" fmla="*/ 3430628 w 3666264"/>
              <a:gd name="connsiteY1" fmla="*/ 230 h 2511273"/>
              <a:gd name="connsiteX2" fmla="*/ 3666264 w 3666264"/>
              <a:gd name="connsiteY2" fmla="*/ 215546 h 2511273"/>
              <a:gd name="connsiteX3" fmla="*/ 3645944 w 3666264"/>
              <a:gd name="connsiteY3" fmla="*/ 2511273 h 2511273"/>
              <a:gd name="connsiteX4" fmla="*/ 3645944 w 3666264"/>
              <a:gd name="connsiteY4" fmla="*/ 2511273 h 2511273"/>
              <a:gd name="connsiteX5" fmla="*/ 0 w 3666264"/>
              <a:gd name="connsiteY5" fmla="*/ 2511273 h 2511273"/>
              <a:gd name="connsiteX6" fmla="*/ 0 w 3666264"/>
              <a:gd name="connsiteY6" fmla="*/ 2511273 h 2511273"/>
              <a:gd name="connsiteX7" fmla="*/ 0 w 3666264"/>
              <a:gd name="connsiteY7" fmla="*/ 418746 h 2511273"/>
              <a:gd name="connsiteX8" fmla="*/ 418516 w 3666264"/>
              <a:gd name="connsiteY8" fmla="*/ 230 h 2511273"/>
              <a:gd name="connsiteX0" fmla="*/ 418516 w 3667052"/>
              <a:gd name="connsiteY0" fmla="*/ 230 h 2511273"/>
              <a:gd name="connsiteX1" fmla="*/ 3460098 w 3667052"/>
              <a:gd name="connsiteY1" fmla="*/ 230 h 2511273"/>
              <a:gd name="connsiteX2" fmla="*/ 3666264 w 3667052"/>
              <a:gd name="connsiteY2" fmla="*/ 215546 h 2511273"/>
              <a:gd name="connsiteX3" fmla="*/ 3645944 w 3667052"/>
              <a:gd name="connsiteY3" fmla="*/ 2511273 h 2511273"/>
              <a:gd name="connsiteX4" fmla="*/ 3645944 w 3667052"/>
              <a:gd name="connsiteY4" fmla="*/ 2511273 h 2511273"/>
              <a:gd name="connsiteX5" fmla="*/ 0 w 3667052"/>
              <a:gd name="connsiteY5" fmla="*/ 2511273 h 2511273"/>
              <a:gd name="connsiteX6" fmla="*/ 0 w 3667052"/>
              <a:gd name="connsiteY6" fmla="*/ 2511273 h 2511273"/>
              <a:gd name="connsiteX7" fmla="*/ 0 w 3667052"/>
              <a:gd name="connsiteY7" fmla="*/ 418746 h 2511273"/>
              <a:gd name="connsiteX8" fmla="*/ 418516 w 3667052"/>
              <a:gd name="connsiteY8" fmla="*/ 230 h 2511273"/>
              <a:gd name="connsiteX0" fmla="*/ 418516 w 3650079"/>
              <a:gd name="connsiteY0" fmla="*/ 230 h 2511273"/>
              <a:gd name="connsiteX1" fmla="*/ 3460098 w 3650079"/>
              <a:gd name="connsiteY1" fmla="*/ 230 h 2511273"/>
              <a:gd name="connsiteX2" fmla="*/ 3646618 w 3650079"/>
              <a:gd name="connsiteY2" fmla="*/ 215546 h 2511273"/>
              <a:gd name="connsiteX3" fmla="*/ 3645944 w 3650079"/>
              <a:gd name="connsiteY3" fmla="*/ 2511273 h 2511273"/>
              <a:gd name="connsiteX4" fmla="*/ 3645944 w 3650079"/>
              <a:gd name="connsiteY4" fmla="*/ 2511273 h 2511273"/>
              <a:gd name="connsiteX5" fmla="*/ 0 w 3650079"/>
              <a:gd name="connsiteY5" fmla="*/ 2511273 h 2511273"/>
              <a:gd name="connsiteX6" fmla="*/ 0 w 3650079"/>
              <a:gd name="connsiteY6" fmla="*/ 2511273 h 2511273"/>
              <a:gd name="connsiteX7" fmla="*/ 0 w 3650079"/>
              <a:gd name="connsiteY7" fmla="*/ 418746 h 2511273"/>
              <a:gd name="connsiteX8" fmla="*/ 418516 w 3650079"/>
              <a:gd name="connsiteY8" fmla="*/ 230 h 251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0079" h="2511273">
                <a:moveTo>
                  <a:pt x="418516" y="230"/>
                </a:moveTo>
                <a:lnTo>
                  <a:pt x="3460098" y="230"/>
                </a:lnTo>
                <a:cubicBezTo>
                  <a:pt x="3691238" y="230"/>
                  <a:pt x="3646618" y="-15594"/>
                  <a:pt x="3646618" y="215546"/>
                </a:cubicBezTo>
                <a:cubicBezTo>
                  <a:pt x="3646393" y="980788"/>
                  <a:pt x="3646169" y="1746031"/>
                  <a:pt x="3645944" y="2511273"/>
                </a:cubicBezTo>
                <a:lnTo>
                  <a:pt x="3645944" y="2511273"/>
                </a:lnTo>
                <a:lnTo>
                  <a:pt x="0" y="2511273"/>
                </a:lnTo>
                <a:lnTo>
                  <a:pt x="0" y="2511273"/>
                </a:lnTo>
                <a:lnTo>
                  <a:pt x="0" y="418746"/>
                </a:lnTo>
                <a:cubicBezTo>
                  <a:pt x="0" y="187606"/>
                  <a:pt x="187376" y="230"/>
                  <a:pt x="418516" y="230"/>
                </a:cubicBezTo>
                <a:close/>
              </a:path>
            </a:pathLst>
          </a:custGeom>
          <a:blipFill>
            <a:blip r:embed="rId5"/>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218972088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4430A9AA-BB5E-FF43-8C3E-F42948508E5B}"/>
              </a:ext>
            </a:extLst>
          </p:cNvPr>
          <p:cNvSpPr txBox="1">
            <a:spLocks/>
          </p:cNvSpPr>
          <p:nvPr/>
        </p:nvSpPr>
        <p:spPr>
          <a:xfrm>
            <a:off x="989159" y="34105"/>
            <a:ext cx="10940374" cy="6947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000000"/>
                </a:solidFill>
                <a:effectLst/>
                <a:uLnTx/>
                <a:uFillTx/>
                <a:latin typeface="Georgia"/>
              </a:rPr>
              <a:t>2019 MTSF Prioritie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8" name="Oval 7">
            <a:extLst>
              <a:ext uri="{FF2B5EF4-FFF2-40B4-BE49-F238E27FC236}">
                <a16:creationId xmlns:a16="http://schemas.microsoft.com/office/drawing/2014/main" xmlns="" id="{2EF9CEEA-65F2-4E31-AFB9-C410E054534C}"/>
              </a:ext>
            </a:extLst>
          </p:cNvPr>
          <p:cNvSpPr/>
          <p:nvPr/>
        </p:nvSpPr>
        <p:spPr>
          <a:xfrm>
            <a:off x="7354583" y="1097837"/>
            <a:ext cx="828000" cy="828000"/>
          </a:xfrm>
          <a:prstGeom prst="ellipse">
            <a:avLst/>
          </a:prstGeom>
          <a:solidFill>
            <a:srgbClr val="FF0482">
              <a:alpha val="62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1.</a:t>
            </a:r>
          </a:p>
        </p:txBody>
      </p:sp>
      <p:sp>
        <p:nvSpPr>
          <p:cNvPr id="9" name="TextBox 8">
            <a:extLst>
              <a:ext uri="{FF2B5EF4-FFF2-40B4-BE49-F238E27FC236}">
                <a16:creationId xmlns:a16="http://schemas.microsoft.com/office/drawing/2014/main" xmlns="" id="{C90934C4-AAF6-4ACA-8380-F4EBEDFFCE2D}"/>
              </a:ext>
            </a:extLst>
          </p:cNvPr>
          <p:cNvSpPr txBox="1"/>
          <p:nvPr/>
        </p:nvSpPr>
        <p:spPr>
          <a:xfrm>
            <a:off x="8424549" y="1220735"/>
            <a:ext cx="2178712" cy="1077218"/>
          </a:xfrm>
          <a:prstGeom prst="rect">
            <a:avLst/>
          </a:prstGeom>
          <a:noFill/>
        </p:spPr>
        <p:txBody>
          <a:bodyPr wrap="square" rtlCol="0">
            <a:spAutoFit/>
          </a:bodyPr>
          <a:lstStyle/>
          <a:p>
            <a:r>
              <a:rPr lang="en-US" sz="1600" b="1" dirty="0">
                <a:latin typeface="+mj-lt"/>
              </a:rPr>
              <a:t>PRIORITY 1: </a:t>
            </a:r>
            <a:endParaRPr lang="en-US" sz="1600" b="1" dirty="0" smtClean="0">
              <a:latin typeface="+mj-lt"/>
            </a:endParaRPr>
          </a:p>
          <a:p>
            <a:r>
              <a:rPr lang="en-US" sz="1600" b="1" dirty="0" smtClean="0">
                <a:latin typeface="+mj-lt"/>
              </a:rPr>
              <a:t>Building </a:t>
            </a:r>
            <a:r>
              <a:rPr lang="en-US" sz="1600" b="1" dirty="0">
                <a:latin typeface="+mj-lt"/>
              </a:rPr>
              <a:t>a capable, ethical and developmental state</a:t>
            </a:r>
            <a:endParaRPr lang="en-US" sz="1600" b="1" dirty="0">
              <a:latin typeface="+mj-lt"/>
              <a:cs typeface="Arial" panose="020B0604020202020204" pitchFamily="34" charset="0"/>
            </a:endParaRPr>
          </a:p>
        </p:txBody>
      </p:sp>
      <p:sp>
        <p:nvSpPr>
          <p:cNvPr id="10" name="Oval 9">
            <a:extLst>
              <a:ext uri="{FF2B5EF4-FFF2-40B4-BE49-F238E27FC236}">
                <a16:creationId xmlns:a16="http://schemas.microsoft.com/office/drawing/2014/main" xmlns="" id="{2EF9CEEA-65F2-4E31-AFB9-C410E054534C}"/>
              </a:ext>
            </a:extLst>
          </p:cNvPr>
          <p:cNvSpPr/>
          <p:nvPr/>
        </p:nvSpPr>
        <p:spPr>
          <a:xfrm>
            <a:off x="8156696" y="2797431"/>
            <a:ext cx="828000" cy="828000"/>
          </a:xfrm>
          <a:prstGeom prst="ellipse">
            <a:avLst/>
          </a:prstGeom>
          <a:solidFill>
            <a:srgbClr val="FFC16C"/>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2.</a:t>
            </a:r>
          </a:p>
        </p:txBody>
      </p:sp>
      <p:sp>
        <p:nvSpPr>
          <p:cNvPr id="11" name="TextBox 10">
            <a:extLst>
              <a:ext uri="{FF2B5EF4-FFF2-40B4-BE49-F238E27FC236}">
                <a16:creationId xmlns:a16="http://schemas.microsoft.com/office/drawing/2014/main" xmlns="" id="{6E3AD5FD-4B1C-4605-9CCA-D4565051EDEF}"/>
              </a:ext>
            </a:extLst>
          </p:cNvPr>
          <p:cNvSpPr txBox="1"/>
          <p:nvPr/>
        </p:nvSpPr>
        <p:spPr>
          <a:xfrm>
            <a:off x="9123266" y="2750406"/>
            <a:ext cx="2205106" cy="1077218"/>
          </a:xfrm>
          <a:prstGeom prst="rect">
            <a:avLst/>
          </a:prstGeom>
          <a:noFill/>
        </p:spPr>
        <p:txBody>
          <a:bodyPr wrap="square" rtlCol="0">
            <a:spAutoFit/>
          </a:bodyPr>
          <a:lstStyle/>
          <a:p>
            <a:r>
              <a:rPr lang="en-US" sz="1600" dirty="0">
                <a:latin typeface="+mj-lt"/>
              </a:rPr>
              <a:t>PRIORITY 2: </a:t>
            </a:r>
            <a:endParaRPr lang="en-US" sz="1600" dirty="0" smtClean="0">
              <a:latin typeface="+mj-lt"/>
            </a:endParaRPr>
          </a:p>
          <a:p>
            <a:r>
              <a:rPr lang="en-US" sz="1600" dirty="0" smtClean="0">
                <a:latin typeface="+mj-lt"/>
              </a:rPr>
              <a:t>Economic </a:t>
            </a:r>
            <a:r>
              <a:rPr lang="en-US" sz="1600" dirty="0">
                <a:latin typeface="+mj-lt"/>
              </a:rPr>
              <a:t>transformation and job creation</a:t>
            </a:r>
            <a:endParaRPr lang="en-US" sz="1600" dirty="0">
              <a:latin typeface="+mj-lt"/>
              <a:cs typeface="Arial" panose="020B0604020202020204" pitchFamily="34" charset="0"/>
            </a:endParaRPr>
          </a:p>
        </p:txBody>
      </p:sp>
      <p:sp>
        <p:nvSpPr>
          <p:cNvPr id="12" name="Oval 11">
            <a:extLst>
              <a:ext uri="{FF2B5EF4-FFF2-40B4-BE49-F238E27FC236}">
                <a16:creationId xmlns:a16="http://schemas.microsoft.com/office/drawing/2014/main" xmlns="" id="{2EF9CEEA-65F2-4E31-AFB9-C410E054534C}"/>
              </a:ext>
            </a:extLst>
          </p:cNvPr>
          <p:cNvSpPr/>
          <p:nvPr/>
        </p:nvSpPr>
        <p:spPr>
          <a:xfrm>
            <a:off x="5404162" y="5665280"/>
            <a:ext cx="828000" cy="828000"/>
          </a:xfrm>
          <a:prstGeom prst="ellipse">
            <a:avLst/>
          </a:prstGeom>
          <a:solidFill>
            <a:srgbClr val="FF8C00">
              <a:alpha val="54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4.</a:t>
            </a:r>
          </a:p>
        </p:txBody>
      </p:sp>
      <p:sp>
        <p:nvSpPr>
          <p:cNvPr id="13" name="Oval 12">
            <a:extLst>
              <a:ext uri="{FF2B5EF4-FFF2-40B4-BE49-F238E27FC236}">
                <a16:creationId xmlns:a16="http://schemas.microsoft.com/office/drawing/2014/main" xmlns="" id="{2EF9CEEA-65F2-4E31-AFB9-C410E054534C}"/>
              </a:ext>
            </a:extLst>
          </p:cNvPr>
          <p:cNvSpPr/>
          <p:nvPr/>
        </p:nvSpPr>
        <p:spPr>
          <a:xfrm>
            <a:off x="7613207" y="4698710"/>
            <a:ext cx="828000" cy="828000"/>
          </a:xfrm>
          <a:prstGeom prst="ellipse">
            <a:avLst/>
          </a:prstGeom>
          <a:solidFill>
            <a:srgbClr val="40E0D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3.</a:t>
            </a:r>
          </a:p>
        </p:txBody>
      </p:sp>
      <p:sp>
        <p:nvSpPr>
          <p:cNvPr id="14" name="TextBox 13">
            <a:extLst>
              <a:ext uri="{FF2B5EF4-FFF2-40B4-BE49-F238E27FC236}">
                <a16:creationId xmlns:a16="http://schemas.microsoft.com/office/drawing/2014/main" xmlns="" id="{F1E9BC3B-71CD-4C38-9744-9381ABD02474}"/>
              </a:ext>
            </a:extLst>
          </p:cNvPr>
          <p:cNvSpPr txBox="1"/>
          <p:nvPr/>
        </p:nvSpPr>
        <p:spPr>
          <a:xfrm>
            <a:off x="2366353" y="5665280"/>
            <a:ext cx="2938422" cy="830997"/>
          </a:xfrm>
          <a:prstGeom prst="rect">
            <a:avLst/>
          </a:prstGeom>
          <a:noFill/>
        </p:spPr>
        <p:txBody>
          <a:bodyPr wrap="square" rtlCol="0">
            <a:spAutoFit/>
          </a:bodyPr>
          <a:lstStyle/>
          <a:p>
            <a:pPr algn="r"/>
            <a:r>
              <a:rPr lang="en-US" sz="1600" dirty="0">
                <a:latin typeface="+mj-lt"/>
              </a:rPr>
              <a:t>PRIORITY 4: Consolidating the social wage through reliable and quality basic services</a:t>
            </a:r>
            <a:endParaRPr lang="en-US" sz="1600" dirty="0">
              <a:latin typeface="+mj-lt"/>
              <a:cs typeface="Arial" panose="020B0604020202020204" pitchFamily="34" charset="0"/>
            </a:endParaRPr>
          </a:p>
        </p:txBody>
      </p:sp>
      <p:sp>
        <p:nvSpPr>
          <p:cNvPr id="15" name="TextBox 14">
            <a:extLst>
              <a:ext uri="{FF2B5EF4-FFF2-40B4-BE49-F238E27FC236}">
                <a16:creationId xmlns:a16="http://schemas.microsoft.com/office/drawing/2014/main" xmlns="" id="{7FDA81E1-79F0-458E-B167-30CB1C797483}"/>
              </a:ext>
            </a:extLst>
          </p:cNvPr>
          <p:cNvSpPr txBox="1"/>
          <p:nvPr/>
        </p:nvSpPr>
        <p:spPr>
          <a:xfrm>
            <a:off x="8639981" y="4928171"/>
            <a:ext cx="2205106" cy="830997"/>
          </a:xfrm>
          <a:prstGeom prst="rect">
            <a:avLst/>
          </a:prstGeom>
          <a:noFill/>
        </p:spPr>
        <p:txBody>
          <a:bodyPr wrap="square" rtlCol="0">
            <a:spAutoFit/>
          </a:bodyPr>
          <a:lstStyle/>
          <a:p>
            <a:r>
              <a:rPr lang="en-US" sz="1600" dirty="0">
                <a:latin typeface="+mj-lt"/>
              </a:rPr>
              <a:t>PRIORITY 3: </a:t>
            </a:r>
            <a:endParaRPr lang="en-US" sz="1600" dirty="0" smtClean="0">
              <a:latin typeface="+mj-lt"/>
            </a:endParaRPr>
          </a:p>
          <a:p>
            <a:r>
              <a:rPr lang="en-US" sz="1600" dirty="0" smtClean="0">
                <a:latin typeface="+mj-lt"/>
              </a:rPr>
              <a:t>Education</a:t>
            </a:r>
            <a:r>
              <a:rPr lang="en-US" sz="1600" dirty="0">
                <a:latin typeface="+mj-lt"/>
              </a:rPr>
              <a:t>, skills and health</a:t>
            </a:r>
            <a:endParaRPr lang="en-US" sz="1600" dirty="0">
              <a:latin typeface="+mj-lt"/>
              <a:cs typeface="Arial" panose="020B0604020202020204" pitchFamily="34" charset="0"/>
            </a:endParaRPr>
          </a:p>
        </p:txBody>
      </p:sp>
      <p:sp>
        <p:nvSpPr>
          <p:cNvPr id="16" name="Oval 15">
            <a:extLst>
              <a:ext uri="{FF2B5EF4-FFF2-40B4-BE49-F238E27FC236}">
                <a16:creationId xmlns:a16="http://schemas.microsoft.com/office/drawing/2014/main" xmlns="" id="{2EF9CEEA-65F2-4E31-AFB9-C410E054534C}"/>
              </a:ext>
            </a:extLst>
          </p:cNvPr>
          <p:cNvSpPr/>
          <p:nvPr/>
        </p:nvSpPr>
        <p:spPr>
          <a:xfrm>
            <a:off x="2910522" y="4377099"/>
            <a:ext cx="828000" cy="828000"/>
          </a:xfrm>
          <a:prstGeom prst="ellipse">
            <a:avLst/>
          </a:prstGeom>
          <a:solidFill>
            <a:schemeClr val="accent1">
              <a:lumMod val="60000"/>
              <a:lumOff val="4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white"/>
                </a:solidFill>
                <a:effectLst/>
                <a:uLnTx/>
                <a:uFillTx/>
                <a:latin typeface="Calibri" panose="020F0502020204030204"/>
              </a:rPr>
              <a:t>5.</a:t>
            </a:r>
          </a:p>
        </p:txBody>
      </p:sp>
      <p:sp>
        <p:nvSpPr>
          <p:cNvPr id="17" name="TextBox 16">
            <a:extLst>
              <a:ext uri="{FF2B5EF4-FFF2-40B4-BE49-F238E27FC236}">
                <a16:creationId xmlns:a16="http://schemas.microsoft.com/office/drawing/2014/main" xmlns="" id="{6E3AD5FD-4B1C-4605-9CCA-D4565051EDEF}"/>
              </a:ext>
            </a:extLst>
          </p:cNvPr>
          <p:cNvSpPr txBox="1"/>
          <p:nvPr/>
        </p:nvSpPr>
        <p:spPr>
          <a:xfrm>
            <a:off x="645212" y="4452489"/>
            <a:ext cx="2205106" cy="1077218"/>
          </a:xfrm>
          <a:prstGeom prst="rect">
            <a:avLst/>
          </a:prstGeom>
          <a:noFill/>
        </p:spPr>
        <p:txBody>
          <a:bodyPr wrap="square" rtlCol="0">
            <a:spAutoFit/>
          </a:bodyPr>
          <a:lstStyle/>
          <a:p>
            <a:pPr algn="r"/>
            <a:r>
              <a:rPr lang="en-US" sz="1600" dirty="0">
                <a:latin typeface="+mj-lt"/>
              </a:rPr>
              <a:t>PRIORITY 5: </a:t>
            </a:r>
            <a:endParaRPr lang="en-US" sz="1600" dirty="0" smtClean="0">
              <a:latin typeface="+mj-lt"/>
            </a:endParaRPr>
          </a:p>
          <a:p>
            <a:pPr algn="r"/>
            <a:r>
              <a:rPr lang="en-US" sz="1600" dirty="0" smtClean="0">
                <a:latin typeface="+mj-lt"/>
              </a:rPr>
              <a:t>Spatial </a:t>
            </a:r>
            <a:r>
              <a:rPr lang="en-US" sz="1600" dirty="0">
                <a:latin typeface="+mj-lt"/>
              </a:rPr>
              <a:t>integration, human settlements and local government</a:t>
            </a:r>
            <a:endParaRPr lang="en-US" sz="1600" dirty="0">
              <a:latin typeface="+mj-lt"/>
              <a:cs typeface="Arial" panose="020B0604020202020204" pitchFamily="34" charset="0"/>
            </a:endParaRPr>
          </a:p>
        </p:txBody>
      </p:sp>
      <p:sp>
        <p:nvSpPr>
          <p:cNvPr id="18" name="TextBox 17">
            <a:extLst>
              <a:ext uri="{FF2B5EF4-FFF2-40B4-BE49-F238E27FC236}">
                <a16:creationId xmlns:a16="http://schemas.microsoft.com/office/drawing/2014/main" xmlns="" id="{6E3AD5FD-4B1C-4605-9CCA-D4565051EDEF}"/>
              </a:ext>
            </a:extLst>
          </p:cNvPr>
          <p:cNvSpPr txBox="1"/>
          <p:nvPr/>
        </p:nvSpPr>
        <p:spPr>
          <a:xfrm>
            <a:off x="376057" y="2399544"/>
            <a:ext cx="2205106" cy="1323439"/>
          </a:xfrm>
          <a:prstGeom prst="rect">
            <a:avLst/>
          </a:prstGeom>
          <a:noFill/>
        </p:spPr>
        <p:txBody>
          <a:bodyPr wrap="square" rtlCol="0">
            <a:spAutoFit/>
          </a:bodyPr>
          <a:lstStyle/>
          <a:p>
            <a:pPr algn="r"/>
            <a:r>
              <a:rPr lang="en-US" sz="1600" dirty="0">
                <a:latin typeface="Calibri Light" panose="020F0302020204030204"/>
                <a:cs typeface="Arial" panose="020B0604020202020204" pitchFamily="34" charset="0"/>
              </a:rPr>
              <a:t>PRIORITY 6:</a:t>
            </a:r>
          </a:p>
          <a:p>
            <a:pPr algn="r"/>
            <a:r>
              <a:rPr lang="en-US" sz="1600" dirty="0">
                <a:latin typeface="Calibri Light" panose="020F0302020204030204"/>
                <a:cs typeface="Arial" panose="020B0604020202020204" pitchFamily="34" charset="0"/>
              </a:rPr>
              <a:t>Social</a:t>
            </a:r>
          </a:p>
          <a:p>
            <a:pPr algn="r"/>
            <a:r>
              <a:rPr lang="en-US" sz="1600" dirty="0">
                <a:latin typeface="Calibri Light" panose="020F0302020204030204"/>
                <a:cs typeface="Arial" panose="020B0604020202020204" pitchFamily="34" charset="0"/>
              </a:rPr>
              <a:t>cohesion</a:t>
            </a:r>
          </a:p>
          <a:p>
            <a:pPr algn="r"/>
            <a:r>
              <a:rPr lang="en-US" sz="1600" dirty="0">
                <a:latin typeface="Calibri Light" panose="020F0302020204030204"/>
                <a:cs typeface="Arial" panose="020B0604020202020204" pitchFamily="34" charset="0"/>
              </a:rPr>
              <a:t>and safe</a:t>
            </a:r>
          </a:p>
          <a:p>
            <a:pPr algn="r"/>
            <a:r>
              <a:rPr lang="en-US" sz="1600" dirty="0">
                <a:latin typeface="Calibri Light" panose="020F0302020204030204"/>
                <a:cs typeface="Arial" panose="020B0604020202020204" pitchFamily="34" charset="0"/>
              </a:rPr>
              <a:t>communities</a:t>
            </a:r>
          </a:p>
        </p:txBody>
      </p:sp>
      <p:graphicFrame>
        <p:nvGraphicFramePr>
          <p:cNvPr id="6" name="Chart 5">
            <a:extLst>
              <a:ext uri="{FF2B5EF4-FFF2-40B4-BE49-F238E27FC236}">
                <a16:creationId xmlns:a16="http://schemas.microsoft.com/office/drawing/2014/main" xmlns="" id="{8EEB3693-848E-488B-AABF-EBC1DE1C5DC1}"/>
              </a:ext>
            </a:extLst>
          </p:cNvPr>
          <p:cNvGraphicFramePr/>
          <p:nvPr>
            <p:extLst>
              <p:ext uri="{D42A27DB-BD31-4B8C-83A1-F6EECF244321}">
                <p14:modId xmlns:p14="http://schemas.microsoft.com/office/powerpoint/2010/main" val="2808555100"/>
              </p:ext>
            </p:extLst>
          </p:nvPr>
        </p:nvGraphicFramePr>
        <p:xfrm>
          <a:off x="2183155" y="1124212"/>
          <a:ext cx="7435488" cy="4634956"/>
        </p:xfrm>
        <a:graphic>
          <a:graphicData uri="http://schemas.openxmlformats.org/drawingml/2006/chart">
            <c:chart xmlns:c="http://schemas.openxmlformats.org/drawingml/2006/chart" xmlns:r="http://schemas.openxmlformats.org/officeDocument/2006/relationships" r:id="rId3"/>
          </a:graphicData>
        </a:graphic>
      </p:graphicFrame>
      <p:sp>
        <p:nvSpPr>
          <p:cNvPr id="19" name="Oval 18">
            <a:extLst>
              <a:ext uri="{FF2B5EF4-FFF2-40B4-BE49-F238E27FC236}">
                <a16:creationId xmlns:a16="http://schemas.microsoft.com/office/drawing/2014/main" xmlns="" xmlns:lc="http://schemas.openxmlformats.org/drawingml/2006/lockedCanvas" id="{2EF9CEEA-65F2-4E31-AFB9-C410E054534C}"/>
              </a:ext>
            </a:extLst>
          </p:cNvPr>
          <p:cNvSpPr/>
          <p:nvPr/>
        </p:nvSpPr>
        <p:spPr>
          <a:xfrm>
            <a:off x="3731057" y="1101411"/>
            <a:ext cx="828000" cy="826774"/>
          </a:xfrm>
          <a:prstGeom prst="ellipse">
            <a:avLst/>
          </a:prstGeom>
          <a:solidFill>
            <a:srgbClr val="7030A0">
              <a:alpha val="61000"/>
            </a:srgbClr>
          </a:solidFill>
          <a:ln w="12700" cap="flat" cmpd="sng" algn="ctr">
            <a:noFill/>
            <a:prstDash val="solid"/>
            <a:miter lim="800000"/>
          </a:ln>
          <a:effectLst/>
        </p:spPr>
        <p:txBody>
          <a:bodyPr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800" kern="0" dirty="0">
                <a:solidFill>
                  <a:prstClr val="white"/>
                </a:solidFill>
                <a:latin typeface="Calibri" panose="020F0502020204030204"/>
              </a:rPr>
              <a:t>7</a:t>
            </a:r>
            <a:r>
              <a:rPr kumimoji="0" lang="en-US" sz="1800" b="0" i="0" u="none" strike="noStrike" kern="0" cap="none" spc="0" normalizeH="0" baseline="0" noProof="0" dirty="0" smtClean="0">
                <a:ln>
                  <a:noFill/>
                </a:ln>
                <a:solidFill>
                  <a:prstClr val="white"/>
                </a:solidFill>
                <a:effectLst/>
                <a:uLnTx/>
                <a:uFillTx/>
                <a:latin typeface="Calibri" panose="020F0502020204030204"/>
              </a:rPr>
              <a:t>.</a:t>
            </a:r>
          </a:p>
        </p:txBody>
      </p:sp>
      <p:sp>
        <p:nvSpPr>
          <p:cNvPr id="20" name="TextBox 19">
            <a:extLst>
              <a:ext uri="{FF2B5EF4-FFF2-40B4-BE49-F238E27FC236}">
                <a16:creationId xmlns:a16="http://schemas.microsoft.com/office/drawing/2014/main" xmlns="" id="{6E3AD5FD-4B1C-4605-9CCA-D4565051EDEF}"/>
              </a:ext>
            </a:extLst>
          </p:cNvPr>
          <p:cNvSpPr txBox="1"/>
          <p:nvPr/>
        </p:nvSpPr>
        <p:spPr>
          <a:xfrm>
            <a:off x="1525951" y="1288734"/>
            <a:ext cx="2205106" cy="584775"/>
          </a:xfrm>
          <a:prstGeom prst="rect">
            <a:avLst/>
          </a:prstGeom>
          <a:noFill/>
        </p:spPr>
        <p:txBody>
          <a:bodyPr wrap="square" rtlCol="0">
            <a:spAutoFit/>
          </a:bodyPr>
          <a:lstStyle/>
          <a:p>
            <a:pPr algn="r"/>
            <a:r>
              <a:rPr lang="en-US" sz="1600" dirty="0">
                <a:latin typeface="+mj-lt"/>
              </a:rPr>
              <a:t>PRIORITY 7: A better Africa and world</a:t>
            </a:r>
            <a:endParaRPr lang="en-US" sz="1600" dirty="0">
              <a:latin typeface="+mj-lt"/>
              <a:cs typeface="Arial" panose="020B0604020202020204" pitchFamily="34" charset="0"/>
            </a:endParaRPr>
          </a:p>
        </p:txBody>
      </p:sp>
      <p:sp>
        <p:nvSpPr>
          <p:cNvPr id="24" name="TextBox 23">
            <a:extLst>
              <a:ext uri="{FF2B5EF4-FFF2-40B4-BE49-F238E27FC236}">
                <a16:creationId xmlns="" xmlns:a16="http://schemas.microsoft.com/office/drawing/2014/main" id="{3D1D2E24-36FA-6149-B377-163EFDF93ABC}"/>
              </a:ext>
            </a:extLst>
          </p:cNvPr>
          <p:cNvSpPr txBox="1"/>
          <p:nvPr/>
        </p:nvSpPr>
        <p:spPr>
          <a:xfrm>
            <a:off x="780318" y="766248"/>
            <a:ext cx="414000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spTree>
    <p:extLst>
      <p:ext uri="{BB962C8B-B14F-4D97-AF65-F5344CB8AC3E}">
        <p14:creationId xmlns:p14="http://schemas.microsoft.com/office/powerpoint/2010/main" val="14769504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4430A9AA-BB5E-FF43-8C3E-F42948508E5B}"/>
              </a:ext>
            </a:extLst>
          </p:cNvPr>
          <p:cNvSpPr txBox="1">
            <a:spLocks/>
          </p:cNvSpPr>
          <p:nvPr/>
        </p:nvSpPr>
        <p:spPr>
          <a:xfrm>
            <a:off x="989159" y="34105"/>
            <a:ext cx="10940374" cy="6947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lvl="0">
              <a:defRPr/>
            </a:pPr>
            <a:r>
              <a:rPr kumimoji="0" lang="en-US" sz="4000" b="1" i="0" u="none" strike="noStrike" kern="1200" cap="none" spc="0" normalizeH="0" baseline="0" noProof="0" dirty="0" smtClean="0">
                <a:ln>
                  <a:noFill/>
                </a:ln>
                <a:solidFill>
                  <a:srgbClr val="000000"/>
                </a:solidFill>
                <a:effectLst/>
                <a:uLnTx/>
                <a:uFillTx/>
                <a:latin typeface="Georgia"/>
              </a:rPr>
              <a:t>2019 MTSF </a:t>
            </a:r>
            <a:r>
              <a:rPr lang="en-US" sz="4000" dirty="0">
                <a:solidFill>
                  <a:srgbClr val="000000"/>
                </a:solidFill>
                <a:latin typeface="Georgia"/>
              </a:rPr>
              <a:t>contributions</a:t>
            </a:r>
            <a:endParaRPr kumimoji="0" lang="en-US" sz="4000" b="1" i="0" u="none" strike="noStrike" kern="1200" cap="none" spc="0" normalizeH="0" baseline="0" noProof="0" dirty="0">
              <a:ln>
                <a:noFill/>
              </a:ln>
              <a:solidFill>
                <a:srgbClr val="000000"/>
              </a:solidFill>
              <a:effectLst/>
              <a:uLnTx/>
              <a:uFillTx/>
              <a:latin typeface="Georgia"/>
            </a:endParaRPr>
          </a:p>
        </p:txBody>
      </p:sp>
      <p:sp>
        <p:nvSpPr>
          <p:cNvPr id="21" name="TextBox 20">
            <a:extLst>
              <a:ext uri="{FF2B5EF4-FFF2-40B4-BE49-F238E27FC236}">
                <a16:creationId xmlns="" xmlns:a16="http://schemas.microsoft.com/office/drawing/2014/main" id="{3D1D2E24-36FA-6149-B377-163EFDF93ABC}"/>
              </a:ext>
            </a:extLst>
          </p:cNvPr>
          <p:cNvSpPr txBox="1"/>
          <p:nvPr/>
        </p:nvSpPr>
        <p:spPr>
          <a:xfrm>
            <a:off x="989159" y="2271555"/>
            <a:ext cx="6365424"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4: Successful reintegration of all those under the care of the Department</a:t>
            </a:r>
            <a:endParaRPr lang="da-DK" sz="1400" b="1" dirty="0">
              <a:solidFill>
                <a:srgbClr val="FFFFFF"/>
              </a:solidFill>
              <a:latin typeface="Segoe UI Light"/>
              <a:cs typeface="Segoe UI" panose="020B0502040204020203" pitchFamily="34" charset="0"/>
            </a:endParaRPr>
          </a:p>
        </p:txBody>
      </p:sp>
      <p:sp>
        <p:nvSpPr>
          <p:cNvPr id="24" name="TextBox 23">
            <a:extLst>
              <a:ext uri="{FF2B5EF4-FFF2-40B4-BE49-F238E27FC236}">
                <a16:creationId xmlns="" xmlns:a16="http://schemas.microsoft.com/office/drawing/2014/main" id="{3D1D2E24-36FA-6149-B377-163EFDF93ABC}"/>
              </a:ext>
            </a:extLst>
          </p:cNvPr>
          <p:cNvSpPr txBox="1"/>
          <p:nvPr/>
        </p:nvSpPr>
        <p:spPr>
          <a:xfrm>
            <a:off x="989159" y="766520"/>
            <a:ext cx="6870950" cy="215444"/>
          </a:xfrm>
          <a:prstGeom prst="rect">
            <a:avLst/>
          </a:prstGeom>
          <a:noFill/>
        </p:spPr>
        <p:txBody>
          <a:bodyPr wrap="square" lIns="0" tIns="0" rIns="0" bIns="0" rtlCol="0" anchor="ctr">
            <a:spAutoFit/>
          </a:bodyPr>
          <a:lstStyle/>
          <a:p>
            <a:pPr>
              <a:spcAft>
                <a:spcPts val="300"/>
              </a:spcAft>
            </a:pPr>
            <a:r>
              <a:rPr lang="en-US" sz="1400" b="1" dirty="0">
                <a:solidFill>
                  <a:srgbClr val="FFFFFF"/>
                </a:solidFill>
                <a:latin typeface="Segoe UI Light"/>
                <a:cs typeface="Segoe UI" panose="020B0502040204020203" pitchFamily="34" charset="0"/>
              </a:rPr>
              <a:t>Outcome 6: High performing ethical </a:t>
            </a:r>
            <a:r>
              <a:rPr lang="en-US" sz="1400" b="1" dirty="0" err="1">
                <a:solidFill>
                  <a:srgbClr val="FFFFFF"/>
                </a:solidFill>
                <a:latin typeface="Segoe UI Light"/>
                <a:cs typeface="Segoe UI" panose="020B0502040204020203" pitchFamily="34" charset="0"/>
              </a:rPr>
              <a:t>organisation</a:t>
            </a:r>
            <a:r>
              <a:rPr lang="en-US" sz="1400" b="1" dirty="0">
                <a:solidFill>
                  <a:srgbClr val="FFFFFF"/>
                </a:solidFill>
                <a:latin typeface="Segoe UI Light"/>
                <a:cs typeface="Segoe UI" panose="020B0502040204020203" pitchFamily="34" charset="0"/>
              </a:rPr>
              <a:t> </a:t>
            </a:r>
          </a:p>
        </p:txBody>
      </p:sp>
      <p:cxnSp>
        <p:nvCxnSpPr>
          <p:cNvPr id="25" name="Straight Connector 24">
            <a:extLst>
              <a:ext uri="{FF2B5EF4-FFF2-40B4-BE49-F238E27FC236}">
                <a16:creationId xmlns="" xmlns:a16="http://schemas.microsoft.com/office/drawing/2014/main" id="{D4D9F918-F730-4449-AB3E-2E8143B1A414}"/>
              </a:ext>
            </a:extLst>
          </p:cNvPr>
          <p:cNvCxnSpPr>
            <a:cxnSpLocks/>
          </p:cNvCxnSpPr>
          <p:nvPr/>
        </p:nvCxnSpPr>
        <p:spPr>
          <a:xfrm>
            <a:off x="7236372" y="910723"/>
            <a:ext cx="4607054" cy="1"/>
          </a:xfrm>
          <a:prstGeom prst="line">
            <a:avLst/>
          </a:prstGeom>
          <a:noFill/>
          <a:ln w="6350" cap="flat" cmpd="sng" algn="ctr">
            <a:solidFill>
              <a:srgbClr val="FFFFFF"/>
            </a:solidFill>
            <a:prstDash val="solid"/>
            <a:miter lim="800000"/>
          </a:ln>
          <a:effectLst/>
        </p:spPr>
      </p:cxnSp>
      <p:graphicFrame>
        <p:nvGraphicFramePr>
          <p:cNvPr id="22" name="Table 21"/>
          <p:cNvGraphicFramePr>
            <a:graphicFrameLocks noGrp="1"/>
          </p:cNvGraphicFramePr>
          <p:nvPr>
            <p:extLst>
              <p:ext uri="{D42A27DB-BD31-4B8C-83A1-F6EECF244321}">
                <p14:modId xmlns:p14="http://schemas.microsoft.com/office/powerpoint/2010/main" val="688113302"/>
              </p:ext>
            </p:extLst>
          </p:nvPr>
        </p:nvGraphicFramePr>
        <p:xfrm>
          <a:off x="647700" y="1265766"/>
          <a:ext cx="11010902" cy="5040000"/>
        </p:xfrm>
        <a:graphic>
          <a:graphicData uri="http://schemas.openxmlformats.org/drawingml/2006/table">
            <a:tbl>
              <a:tblPr firstRow="1" bandRow="1">
                <a:tableStyleId>{93296810-A885-4BE3-A3E7-6D5BEEA58F35}</a:tableStyleId>
              </a:tblPr>
              <a:tblGrid>
                <a:gridCol w="1765468"/>
                <a:gridCol w="270624"/>
                <a:gridCol w="1847176"/>
                <a:gridCol w="213739"/>
                <a:gridCol w="1765468"/>
                <a:gridCol w="213739"/>
                <a:gridCol w="1765468"/>
                <a:gridCol w="213739"/>
                <a:gridCol w="2955481"/>
              </a:tblGrid>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mj-lt"/>
                        </a:rPr>
                        <a:t>MTSF Priority Area</a:t>
                      </a:r>
                      <a:endParaRPr lang="en-ZA" sz="20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MTSF Indicator</a:t>
                      </a:r>
                      <a:endParaRPr lang="en-ZA" sz="2000" dirty="0">
                        <a:solidFill>
                          <a:schemeClr val="bg1"/>
                        </a:solidFill>
                        <a:latin typeface="+mj-lt"/>
                      </a:endParaRP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ZA" sz="800" dirty="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US" sz="2000" dirty="0" smtClean="0">
                          <a:solidFill>
                            <a:schemeClr val="bg1"/>
                          </a:solidFill>
                          <a:latin typeface="+mj-lt"/>
                        </a:rPr>
                        <a:t>Target</a:t>
                      </a:r>
                      <a:endParaRPr lang="en-ZA" sz="2000" dirty="0">
                        <a:solidFill>
                          <a:schemeClr val="bg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c>
                  <a:txBody>
                    <a:bodyPr/>
                    <a:lstStyle/>
                    <a:p>
                      <a:endParaRPr lang="en-ZA" sz="100" dirty="0" smtClean="0">
                        <a:solidFill>
                          <a:schemeClr val="bg1"/>
                        </a:solidFill>
                        <a:latin typeface="+mj-lt"/>
                      </a:endParaRPr>
                    </a:p>
                  </a:txBody>
                  <a:tcPr>
                    <a:lnL w="28575"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r>
                        <a:rPr lang="en-ZA" sz="2000" dirty="0" smtClean="0">
                          <a:solidFill>
                            <a:schemeClr val="bg1"/>
                          </a:solidFill>
                          <a:latin typeface="+mj-lt"/>
                        </a:rPr>
                        <a:t>Current performance</a:t>
                      </a:r>
                    </a:p>
                  </a:txBody>
                  <a:tcPr>
                    <a:lnL w="38100" cap="flat" cmpd="sng" algn="ctr">
                      <a:solidFill>
                        <a:srgbClr val="548235"/>
                      </a:solidFill>
                      <a:prstDash val="solid"/>
                      <a:round/>
                      <a:headEnd type="none" w="med" len="med"/>
                      <a:tailEnd type="none" w="med" len="med"/>
                    </a:lnL>
                    <a:lnR w="38100"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38100" cap="flat" cmpd="sng" algn="ctr">
                      <a:solidFill>
                        <a:srgbClr val="548235"/>
                      </a:solidFill>
                      <a:prstDash val="solid"/>
                      <a:round/>
                      <a:headEnd type="none" w="med" len="med"/>
                      <a:tailEnd type="none" w="med" len="med"/>
                    </a:lnB>
                    <a:solidFill>
                      <a:srgbClr val="548235"/>
                    </a:solidFill>
                  </a:tcPr>
                </a:tc>
                <a:tc>
                  <a:txBody>
                    <a:bodyPr/>
                    <a:lstStyle/>
                    <a:p>
                      <a:endParaRPr lang="en-US" sz="100" dirty="0" smtClean="0">
                        <a:solidFill>
                          <a:schemeClr val="bg1"/>
                        </a:solidFill>
                        <a:latin typeface="+mj-lt"/>
                      </a:endParaRPr>
                    </a:p>
                  </a:txBody>
                  <a:tcPr>
                    <a:lnL w="38100"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2000" dirty="0" smtClean="0">
                          <a:solidFill>
                            <a:schemeClr val="bg1"/>
                          </a:solidFill>
                          <a:latin typeface="+mj-lt"/>
                        </a:rPr>
                        <a:t>Interventions to achieve the set targets</a:t>
                      </a: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rgbClr val="548235"/>
                    </a:solid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38100"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solidFill>
                      <a:schemeClr val="bg1"/>
                    </a:solid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r h="1008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8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ZA"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solidFill>
                  </a:tcPr>
                </a:tc>
                <a:tc>
                  <a:txBody>
                    <a:bodyPr/>
                    <a:lstStyle/>
                    <a:p>
                      <a:endParaRPr lang="en-ZA"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c>
                  <a:txBody>
                    <a:bodyPr/>
                    <a:lstStyle/>
                    <a:p>
                      <a:endParaRPr lang="en-US" sz="1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2000" dirty="0" smtClean="0">
                        <a:solidFill>
                          <a:schemeClr val="tx1"/>
                        </a:solidFill>
                        <a:latin typeface="+mj-lt"/>
                      </a:endParaRPr>
                    </a:p>
                  </a:txBody>
                  <a:tcPr>
                    <a:lnL w="28575" cap="flat" cmpd="sng" algn="ctr">
                      <a:solidFill>
                        <a:srgbClr val="548235"/>
                      </a:solidFill>
                      <a:prstDash val="solid"/>
                      <a:round/>
                      <a:headEnd type="none" w="med" len="med"/>
                      <a:tailEnd type="none" w="med" len="med"/>
                    </a:lnL>
                    <a:lnR w="28575" cap="flat" cmpd="sng" algn="ctr">
                      <a:solidFill>
                        <a:srgbClr val="548235"/>
                      </a:solidFill>
                      <a:prstDash val="solid"/>
                      <a:round/>
                      <a:headEnd type="none" w="med" len="med"/>
                      <a:tailEnd type="none" w="med" len="med"/>
                    </a:lnR>
                    <a:lnT w="28575" cap="flat" cmpd="sng" algn="ctr">
                      <a:solidFill>
                        <a:srgbClr val="548235"/>
                      </a:solidFill>
                      <a:prstDash val="solid"/>
                      <a:round/>
                      <a:headEnd type="none" w="med" len="med"/>
                      <a:tailEnd type="none" w="med" len="med"/>
                    </a:lnT>
                    <a:lnB w="28575" cap="flat" cmpd="sng" algn="ctr">
                      <a:solidFill>
                        <a:srgbClr val="5482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87599341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xmlns="" id="{4430A9AA-BB5E-FF43-8C3E-F42948508E5B}"/>
              </a:ext>
            </a:extLst>
          </p:cNvPr>
          <p:cNvSpPr txBox="1">
            <a:spLocks/>
          </p:cNvSpPr>
          <p:nvPr/>
        </p:nvSpPr>
        <p:spPr>
          <a:xfrm>
            <a:off x="718226" y="18106"/>
            <a:ext cx="10940374" cy="8188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a:defRPr/>
            </a:pPr>
            <a:r>
              <a:rPr lang="en-US" sz="3600" dirty="0" smtClean="0">
                <a:solidFill>
                  <a:srgbClr val="000000"/>
                </a:solidFill>
                <a:latin typeface="Georgia"/>
              </a:rPr>
              <a:t>Problem tree</a:t>
            </a:r>
            <a:endParaRPr lang="en-US" sz="3600" dirty="0">
              <a:solidFill>
                <a:srgbClr val="000000"/>
              </a:solidFill>
              <a:latin typeface="Georgia"/>
            </a:endParaRPr>
          </a:p>
        </p:txBody>
      </p:sp>
      <p:sp>
        <p:nvSpPr>
          <p:cNvPr id="14" name="TextBox 13">
            <a:extLst>
              <a:ext uri="{FF2B5EF4-FFF2-40B4-BE49-F238E27FC236}">
                <a16:creationId xmlns:a16="http://schemas.microsoft.com/office/drawing/2014/main" xmlns="" id="{3D1D2E24-36FA-6149-B377-163EFDF93ABC}"/>
              </a:ext>
            </a:extLst>
          </p:cNvPr>
          <p:cNvSpPr txBox="1"/>
          <p:nvPr/>
        </p:nvSpPr>
        <p:spPr>
          <a:xfrm>
            <a:off x="989159" y="862900"/>
            <a:ext cx="6870950" cy="184666"/>
          </a:xfrm>
          <a:prstGeom prst="rect">
            <a:avLst/>
          </a:prstGeom>
          <a:noFill/>
        </p:spPr>
        <p:txBody>
          <a:bodyPr wrap="square" lIns="0" tIns="0" rIns="0" bIns="0" rtlCol="0" anchor="ctr">
            <a:spAutoFit/>
          </a:bodyPr>
          <a:lstStyle/>
          <a:p>
            <a:pPr>
              <a:spcAft>
                <a:spcPts val="300"/>
              </a:spcAft>
            </a:pPr>
            <a:r>
              <a:rPr lang="en-US" sz="1200" b="1" dirty="0">
                <a:solidFill>
                  <a:srgbClr val="FFFFFF"/>
                </a:solidFill>
                <a:latin typeface="Segoe UI Light"/>
                <a:cs typeface="Segoe UI" panose="020B0502040204020203" pitchFamily="34" charset="0"/>
              </a:rPr>
              <a:t>Outcome 6: High performing ethical </a:t>
            </a:r>
            <a:r>
              <a:rPr lang="en-US" sz="1200" b="1" dirty="0" err="1">
                <a:solidFill>
                  <a:srgbClr val="FFFFFF"/>
                </a:solidFill>
                <a:latin typeface="Segoe UI Light"/>
                <a:cs typeface="Segoe UI" panose="020B0502040204020203" pitchFamily="34" charset="0"/>
              </a:rPr>
              <a:t>organisation</a:t>
            </a:r>
            <a:r>
              <a:rPr lang="en-US" sz="1200" b="1" dirty="0">
                <a:solidFill>
                  <a:srgbClr val="FFFFFF"/>
                </a:solidFill>
                <a:latin typeface="Segoe UI Light"/>
                <a:cs typeface="Segoe UI" panose="020B0502040204020203" pitchFamily="34" charset="0"/>
              </a:rPr>
              <a:t> </a:t>
            </a:r>
          </a:p>
        </p:txBody>
      </p:sp>
      <p:graphicFrame>
        <p:nvGraphicFramePr>
          <p:cNvPr id="16" name="Diagram 15"/>
          <p:cNvGraphicFramePr/>
          <p:nvPr>
            <p:extLst/>
          </p:nvPr>
        </p:nvGraphicFramePr>
        <p:xfrm>
          <a:off x="135074" y="1648538"/>
          <a:ext cx="12105728" cy="61333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Rectangle 16"/>
          <p:cNvSpPr/>
          <p:nvPr/>
        </p:nvSpPr>
        <p:spPr>
          <a:xfrm>
            <a:off x="3140587" y="1106657"/>
            <a:ext cx="1944000" cy="515515"/>
          </a:xfrm>
          <a:prstGeom prst="rect">
            <a:avLst/>
          </a:prstGeom>
          <a:solidFill>
            <a:sysClr val="window" lastClr="FFFFFF">
              <a:lumMod val="85000"/>
            </a:sysClr>
          </a:solidFill>
          <a:ln w="28575" cap="flat" cmpd="sng" algn="ctr">
            <a:solidFill>
              <a:srgbClr val="FFC000"/>
            </a:solidFill>
            <a:prstDash val="solid"/>
            <a:miter lim="800000"/>
          </a:ln>
          <a:effectLst/>
        </p:spPr>
        <p:txBody>
          <a:bodyPr lIns="91432" tIns="45716" rIns="91432" bIns="45716" rtlCol="0" anchor="ctr"/>
          <a:lstStyle/>
          <a:p>
            <a:pPr algn="ctr" defTabSz="1179597">
              <a:defRPr/>
            </a:pPr>
            <a:r>
              <a:rPr lang="en-ZA" b="1" kern="0" dirty="0" smtClean="0">
                <a:solidFill>
                  <a:prstClr val="black"/>
                </a:solidFill>
                <a:latin typeface="Lato"/>
              </a:rPr>
              <a:t>Demotivated workforce</a:t>
            </a:r>
          </a:p>
        </p:txBody>
      </p:sp>
      <p:sp>
        <p:nvSpPr>
          <p:cNvPr id="18" name="Rectangle 17"/>
          <p:cNvSpPr/>
          <p:nvPr/>
        </p:nvSpPr>
        <p:spPr>
          <a:xfrm>
            <a:off x="5181547" y="1106631"/>
            <a:ext cx="1800000" cy="517982"/>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algn="ctr" defTabSz="1179703">
              <a:defRPr/>
            </a:pPr>
            <a:r>
              <a:rPr lang="en-ZA" b="1" kern="0" dirty="0" smtClean="0">
                <a:solidFill>
                  <a:prstClr val="black"/>
                </a:solidFill>
                <a:latin typeface="Lato"/>
              </a:rPr>
              <a:t>Poor service delivery</a:t>
            </a:r>
          </a:p>
        </p:txBody>
      </p:sp>
      <p:sp>
        <p:nvSpPr>
          <p:cNvPr id="19" name="Rectangle 18"/>
          <p:cNvSpPr/>
          <p:nvPr/>
        </p:nvSpPr>
        <p:spPr>
          <a:xfrm>
            <a:off x="7090628" y="1116795"/>
            <a:ext cx="1800000" cy="515515"/>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algn="ctr" defTabSz="1179703">
              <a:defRPr/>
            </a:pPr>
            <a:r>
              <a:rPr lang="en-ZA" b="1" kern="0" dirty="0" smtClean="0">
                <a:solidFill>
                  <a:prstClr val="black"/>
                </a:solidFill>
                <a:latin typeface="Lato"/>
              </a:rPr>
              <a:t>Negative audit outcomes</a:t>
            </a:r>
          </a:p>
        </p:txBody>
      </p:sp>
      <p:sp>
        <p:nvSpPr>
          <p:cNvPr id="21" name="Rectangle 20"/>
          <p:cNvSpPr/>
          <p:nvPr/>
        </p:nvSpPr>
        <p:spPr>
          <a:xfrm>
            <a:off x="8980629" y="1106657"/>
            <a:ext cx="1800000" cy="515515"/>
          </a:xfrm>
          <a:prstGeom prst="rect">
            <a:avLst/>
          </a:prstGeom>
          <a:solidFill>
            <a:sysClr val="window" lastClr="FFFFFF">
              <a:lumMod val="85000"/>
            </a:sysClr>
          </a:solidFill>
          <a:ln w="28575" cap="flat" cmpd="sng" algn="ctr">
            <a:solidFill>
              <a:srgbClr val="FFC000"/>
            </a:solidFill>
            <a:prstDash val="solid"/>
            <a:miter lim="800000"/>
          </a:ln>
          <a:effectLst/>
        </p:spPr>
        <p:txBody>
          <a:bodyPr rtlCol="0" anchor="ctr"/>
          <a:lstStyle/>
          <a:p>
            <a:pPr algn="ctr" defTabSz="1179703">
              <a:defRPr/>
            </a:pPr>
            <a:r>
              <a:rPr lang="en-ZA" b="1" kern="0" dirty="0" smtClean="0">
                <a:solidFill>
                  <a:prstClr val="black"/>
                </a:solidFill>
                <a:latin typeface="Lato"/>
              </a:rPr>
              <a:t>Fraud and corruption</a:t>
            </a:r>
          </a:p>
        </p:txBody>
      </p:sp>
      <p:sp>
        <p:nvSpPr>
          <p:cNvPr id="22" name="TextBox 21"/>
          <p:cNvSpPr txBox="1"/>
          <p:nvPr/>
        </p:nvSpPr>
        <p:spPr>
          <a:xfrm>
            <a:off x="1664064" y="1186329"/>
            <a:ext cx="1296144" cy="462223"/>
          </a:xfrm>
          <a:prstGeom prst="rect">
            <a:avLst/>
          </a:prstGeom>
          <a:noFill/>
        </p:spPr>
        <p:txBody>
          <a:bodyPr wrap="square" lIns="91358" tIns="45679" rIns="91358" bIns="45679" rtlCol="0">
            <a:spAutoFit/>
          </a:bodyPr>
          <a:lstStyle/>
          <a:p>
            <a:pPr defTabSz="913576">
              <a:defRPr/>
            </a:pPr>
            <a:r>
              <a:rPr lang="en-US" sz="2400" b="1" kern="0" dirty="0" smtClean="0">
                <a:solidFill>
                  <a:srgbClr val="FF9900"/>
                </a:solidFill>
              </a:rPr>
              <a:t>Effects</a:t>
            </a:r>
          </a:p>
        </p:txBody>
      </p:sp>
      <p:sp>
        <p:nvSpPr>
          <p:cNvPr id="23" name="TextBox 22"/>
          <p:cNvSpPr txBox="1"/>
          <p:nvPr/>
        </p:nvSpPr>
        <p:spPr>
          <a:xfrm>
            <a:off x="10780629" y="1648552"/>
            <a:ext cx="1306002" cy="832068"/>
          </a:xfrm>
          <a:prstGeom prst="rect">
            <a:avLst/>
          </a:prstGeom>
          <a:noFill/>
        </p:spPr>
        <p:txBody>
          <a:bodyPr wrap="square" lIns="91358" tIns="45679" rIns="91358" bIns="45679" rtlCol="0">
            <a:spAutoFit/>
          </a:bodyPr>
          <a:lstStyle/>
          <a:p>
            <a:pPr defTabSz="913576">
              <a:defRPr/>
            </a:pPr>
            <a:r>
              <a:rPr lang="en-US" sz="2400" b="1" kern="0" dirty="0" smtClean="0">
                <a:solidFill>
                  <a:srgbClr val="679F81"/>
                </a:solidFill>
              </a:rPr>
              <a:t>Core problem</a:t>
            </a:r>
          </a:p>
        </p:txBody>
      </p:sp>
    </p:spTree>
    <p:extLst>
      <p:ext uri="{BB962C8B-B14F-4D97-AF65-F5344CB8AC3E}">
        <p14:creationId xmlns:p14="http://schemas.microsoft.com/office/powerpoint/2010/main" val="6952619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UCNQJqAHKx5wgyv3swwH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1">
      <a:dk1>
        <a:srgbClr val="000000"/>
      </a:dk1>
      <a:lt1>
        <a:srgbClr val="FFFFFF"/>
      </a:lt1>
      <a:dk2>
        <a:srgbClr val="44546A"/>
      </a:dk2>
      <a:lt2>
        <a:srgbClr val="E7E6E6"/>
      </a:lt2>
      <a:accent1>
        <a:srgbClr val="234091"/>
      </a:accent1>
      <a:accent2>
        <a:srgbClr val="455F87"/>
      </a:accent2>
      <a:accent3>
        <a:srgbClr val="96AFD6"/>
      </a:accent3>
      <a:accent4>
        <a:srgbClr val="C7A96E"/>
      </a:accent4>
      <a:accent5>
        <a:srgbClr val="FEFFFE"/>
      </a:accent5>
      <a:accent6>
        <a:srgbClr val="FEFFFE"/>
      </a:accent6>
      <a:hlink>
        <a:srgbClr val="2F5CD6"/>
      </a:hlink>
      <a:folHlink>
        <a:srgbClr val="954F72"/>
      </a:folHlink>
    </a:clrScheme>
    <a:fontScheme name="Custom 4">
      <a:majorFont>
        <a:latin typeface="Georgia"/>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4739</TotalTime>
  <Words>2007</Words>
  <Application>Microsoft Office PowerPoint</Application>
  <PresentationFormat>Widescreen</PresentationFormat>
  <Paragraphs>346</Paragraphs>
  <Slides>18</Slides>
  <Notes>18</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31" baseType="lpstr">
      <vt:lpstr>Arial</vt:lpstr>
      <vt:lpstr>Calibri</vt:lpstr>
      <vt:lpstr>Calibri Light</vt:lpstr>
      <vt:lpstr>Century Gothic</vt:lpstr>
      <vt:lpstr>Georgia</vt:lpstr>
      <vt:lpstr>Lato</vt:lpstr>
      <vt:lpstr>Segoe UI</vt:lpstr>
      <vt:lpstr>Segoe UI Light</vt:lpstr>
      <vt:lpstr>Times New Roman</vt:lpstr>
      <vt:lpstr>Office Theme</vt:lpstr>
      <vt:lpstr>1_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ults chain</vt:lpstr>
      <vt:lpstr>Results chain</vt:lpstr>
      <vt:lpstr>PowerPoint Presentation</vt:lpstr>
      <vt:lpstr>Modes of service delivery for ICT</vt:lpstr>
      <vt:lpstr>Strategic Risks</vt:lpstr>
      <vt:lpstr>Critical success factors and management of dependencies</vt:lpstr>
      <vt:lpstr>Conclus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agane Makobe</dc:creator>
  <cp:lastModifiedBy>Anbigay Naicker</cp:lastModifiedBy>
  <cp:revision>129</cp:revision>
  <dcterms:created xsi:type="dcterms:W3CDTF">2020-09-14T09:49:54Z</dcterms:created>
  <dcterms:modified xsi:type="dcterms:W3CDTF">2020-10-07T19:19:04Z</dcterms:modified>
</cp:coreProperties>
</file>